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74" r:id="rId2"/>
    <p:sldId id="281" r:id="rId3"/>
    <p:sldId id="291" r:id="rId4"/>
    <p:sldId id="275" r:id="rId5"/>
    <p:sldId id="276" r:id="rId6"/>
    <p:sldId id="277" r:id="rId7"/>
    <p:sldId id="288" r:id="rId8"/>
    <p:sldId id="290" r:id="rId9"/>
    <p:sldId id="292" r:id="rId10"/>
    <p:sldId id="285" r:id="rId11"/>
    <p:sldId id="279" r:id="rId12"/>
    <p:sldId id="280" r:id="rId13"/>
    <p:sldId id="282" r:id="rId14"/>
    <p:sldId id="283" r:id="rId15"/>
    <p:sldId id="286" r:id="rId16"/>
    <p:sldId id="278" r:id="rId17"/>
  </p:sldIdLst>
  <p:sldSz cx="9144000" cy="6858000" type="screen4x3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2" d="100"/>
          <a:sy n="102" d="100"/>
        </p:scale>
        <p:origin x="-234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8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8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r">
              <a:defRPr sz="1200"/>
            </a:lvl1pPr>
          </a:lstStyle>
          <a:p>
            <a:fld id="{4F788B2A-6697-4118-A694-CE461749B152}" type="datetimeFigureOut">
              <a:rPr lang="ko-KR" altLang="en-US" smtClean="0"/>
              <a:t>2015-10-04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6" rIns="91430" bIns="45716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451" y="4714876"/>
            <a:ext cx="5438775" cy="4467225"/>
          </a:xfrm>
          <a:prstGeom prst="rect">
            <a:avLst/>
          </a:prstGeom>
        </p:spPr>
        <p:txBody>
          <a:bodyPr vert="horz" lIns="91430" tIns="45716" rIns="91430" bIns="45716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164"/>
            <a:ext cx="2946400" cy="496887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49689" y="9428164"/>
            <a:ext cx="2946400" cy="496887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r">
              <a:defRPr sz="1200"/>
            </a:lvl1pPr>
          </a:lstStyle>
          <a:p>
            <a:fld id="{88D81DB0-7BAD-45FC-95E6-5C8ADEE29EA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573252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D81DB0-7BAD-45FC-95E6-5C8ADEE29EAA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90836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73043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574571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2189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000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795696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4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27507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4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84716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4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58466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4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43507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4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90321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4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55606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32206D-0AEB-4CD5-9069-376979FF9724}" type="datetimeFigureOut">
              <a:rPr lang="ko-KR" altLang="en-US" smtClean="0"/>
              <a:t>2015-10-0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88175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6463" cy="685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961374" y="2708919"/>
            <a:ext cx="734481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44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의 행복한 삶에 공헌하는</a:t>
            </a:r>
            <a:endParaRPr lang="en-US" sz="4400" dirty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6" name="Straight Connector 10"/>
          <p:cNvCxnSpPr/>
          <p:nvPr/>
        </p:nvCxnSpPr>
        <p:spPr>
          <a:xfrm flipH="1">
            <a:off x="1396043" y="2420888"/>
            <a:ext cx="6475478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296590" y="1697795"/>
            <a:ext cx="5396433" cy="5457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00</a:t>
            </a:r>
            <a:r>
              <a:rPr lang="ko-KR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세시대 국민 행복 파트너</a:t>
            </a:r>
            <a:endParaRPr lang="en-US" altLang="ko-KR" sz="2800" dirty="0" smtClean="0">
              <a:solidFill>
                <a:schemeClr val="tx1">
                  <a:lumMod val="65000"/>
                  <a:lumOff val="3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22739" y="5346427"/>
            <a:ext cx="260437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회의원 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 명 수</a:t>
            </a:r>
            <a:endParaRPr lang="en-US" altLang="ko-KR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44806" y="5773072"/>
            <a:ext cx="2160240" cy="2539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충남 아산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5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새누리당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6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1" name="Group 348"/>
          <p:cNvGrpSpPr/>
          <p:nvPr/>
        </p:nvGrpSpPr>
        <p:grpSpPr>
          <a:xfrm>
            <a:off x="178065" y="6370186"/>
            <a:ext cx="1453620" cy="288575"/>
            <a:chOff x="2077120" y="4859661"/>
            <a:chExt cx="1453620" cy="288575"/>
          </a:xfrm>
        </p:grpSpPr>
        <p:sp>
          <p:nvSpPr>
            <p:cNvPr id="12" name="Freeform 6"/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" name="TextBox 12"/>
            <p:cNvSpPr txBox="1"/>
            <p:nvPr>
              <p:custDataLst>
                <p:tags r:id="rId2"/>
              </p:custDataLst>
            </p:nvPr>
          </p:nvSpPr>
          <p:spPr>
            <a:xfrm>
              <a:off x="2454533" y="4927004"/>
              <a:ext cx="107620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dirty="0" smtClean="0">
                  <a:solidFill>
                    <a:schemeClr val="bg1"/>
                  </a:solidFill>
                  <a:latin typeface="HY강B" panose="02030600000101010101" pitchFamily="18" charset="-127"/>
                  <a:ea typeface="HY강B" panose="02030600000101010101" pitchFamily="18" charset="-127"/>
                </a:rPr>
                <a:t>www.mslee.co.kr</a:t>
              </a:r>
              <a:endParaRPr lang="en-US" sz="1000" dirty="0">
                <a:solidFill>
                  <a:schemeClr val="bg1"/>
                </a:solidFill>
                <a:latin typeface="HY강B" panose="02030600000101010101" pitchFamily="18" charset="-127"/>
                <a:ea typeface="HY강B" panose="02030600000101010101" pitchFamily="18" charset="-127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3994806" y="3451500"/>
            <a:ext cx="4238513" cy="5457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2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연금공단 진단</a:t>
            </a:r>
            <a:endParaRPr lang="en-US" altLang="ko-KR" sz="2800" dirty="0" smtClean="0">
              <a:solidFill>
                <a:schemeClr val="tx1">
                  <a:lumMod val="50000"/>
                  <a:lumOff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027" name="Picture 3" descr="C:\Users\assembly\Desktop\국감백서\책자표지\국회상징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9990" y="5449354"/>
            <a:ext cx="285947" cy="286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1632" y="303019"/>
            <a:ext cx="230425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015.10.5.(</a:t>
            </a:r>
            <a:r>
              <a:rPr lang="ko-KR" altLang="en-US" sz="9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월</a:t>
            </a:r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연금공</a:t>
            </a:r>
            <a:r>
              <a:rPr lang="ko-KR" altLang="en-US" sz="9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단</a:t>
            </a:r>
            <a:r>
              <a:rPr lang="ko-KR" altLang="en-US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국정감사</a:t>
            </a:r>
            <a:endParaRPr lang="ko-KR" altLang="en-US" sz="900" dirty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" name="Picture 2" descr="C:\Users\assembly\Desktop\2015 국정감사\PPT\1차 기관 로고\A.1.1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4806" y="1816768"/>
            <a:ext cx="1080120" cy="527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5990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4287" y="284402"/>
            <a:ext cx="84632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기금운용본부 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독립 및 公社化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필요성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92633" y="954912"/>
            <a:ext cx="8767827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양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적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규모의 거대화 따른 전략적 자산배분과 투자전술의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질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적 변화 요구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해외투자 증대환경에 직면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해외 </a:t>
            </a:r>
            <a:r>
              <a:rPr lang="ko-KR" altLang="en-US" sz="15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공적연기금과의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수익률 차이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각 해외투자의 양과 질의 차이에 의해 발생되는 것으로 판명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79639" y="6168512"/>
            <a:ext cx="818980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기금 재정운용의 자구책 강구</a:t>
            </a:r>
            <a:r>
              <a:rPr lang="en-US" altLang="ko-KR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전문성 혁신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전제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된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7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연기금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독립 및 公社化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64286" y="621046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6287518" y="112191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3275856" y="145896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1252023"/>
              </p:ext>
            </p:extLst>
          </p:nvPr>
        </p:nvGraphicFramePr>
        <p:xfrm>
          <a:off x="461745" y="2206378"/>
          <a:ext cx="8229602" cy="1674620"/>
        </p:xfrm>
        <a:graphic>
          <a:graphicData uri="http://schemas.openxmlformats.org/drawingml/2006/table">
            <a:tbl>
              <a:tblPr/>
              <a:tblGrid>
                <a:gridCol w="1018457"/>
                <a:gridCol w="1368152"/>
                <a:gridCol w="1008112"/>
                <a:gridCol w="1512168"/>
                <a:gridCol w="1008112"/>
                <a:gridCol w="1440160"/>
                <a:gridCol w="874441"/>
              </a:tblGrid>
              <a:tr h="220840"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구분</a:t>
                      </a:r>
                      <a:endParaRPr lang="ko-KR" altLang="en-US" sz="10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DE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국민연금</a:t>
                      </a:r>
                      <a:r>
                        <a:rPr lang="en-US" altLang="ko-KR" sz="1000" b="1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2014)</a:t>
                      </a:r>
                      <a:endParaRPr lang="ko-KR" altLang="en-US" sz="1000" b="1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DED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캐나다 </a:t>
                      </a:r>
                      <a:r>
                        <a:rPr lang="en-US" sz="1000" b="1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CPPIB(2013)</a:t>
                      </a:r>
                      <a:endParaRPr lang="en-US" sz="1000" b="1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DED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미국 </a:t>
                      </a:r>
                      <a:r>
                        <a:rPr lang="en-US" sz="1000" b="1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CaIPERS(2013)</a:t>
                      </a:r>
                      <a:endParaRPr lang="en-US" sz="1000" b="1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DED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208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투자액 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비중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단위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: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조원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ko-KR" altLang="en-US" sz="9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수익률</a:t>
                      </a:r>
                      <a:r>
                        <a:rPr lang="en-US" altLang="ko-KR" sz="900" b="1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%)</a:t>
                      </a:r>
                      <a:endParaRPr lang="ko-KR" altLang="en-US" sz="900" b="1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투자액 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비중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단위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:10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억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ko-KR" altLang="en-US" sz="9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수익률</a:t>
                      </a:r>
                      <a:r>
                        <a:rPr lang="en-US" altLang="ko-KR" sz="900" b="1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%)</a:t>
                      </a:r>
                      <a:endParaRPr lang="ko-KR" altLang="en-US" sz="900" b="1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투자액 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비중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단위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:10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억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ko-KR" altLang="en-US" sz="9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수익률</a:t>
                      </a:r>
                      <a:r>
                        <a:rPr lang="en-US" altLang="ko-KR" sz="900" b="1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%)</a:t>
                      </a:r>
                      <a:endParaRPr lang="ko-KR" altLang="en-US" sz="900" b="1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DED"/>
                    </a:solidFill>
                  </a:tcPr>
                </a:tc>
              </a:tr>
              <a:tr h="23575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주식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40.5(30.0)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>
                          <a:solidFill>
                            <a:srgbClr val="FF0000"/>
                          </a:solidFill>
                          <a:effectLst/>
                          <a:latin typeface="맑은 고딕"/>
                        </a:rPr>
                        <a:t>0.36*</a:t>
                      </a:r>
                      <a:endParaRPr lang="en-US" sz="1100" b="1" kern="0" spc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5.5(29.9)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>
                          <a:solidFill>
                            <a:srgbClr val="FF0000"/>
                          </a:solidFill>
                          <a:effectLst/>
                          <a:latin typeface="맑은 고딕"/>
                        </a:rPr>
                        <a:t>20.71</a:t>
                      </a:r>
                      <a:endParaRPr lang="en-US" sz="1100" b="1" kern="0" spc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59.8(50.93)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>
                          <a:solidFill>
                            <a:srgbClr val="FF0000"/>
                          </a:solidFill>
                          <a:effectLst/>
                          <a:latin typeface="맑은 고딕"/>
                        </a:rPr>
                        <a:t>24.80</a:t>
                      </a:r>
                      <a:endParaRPr lang="en-US" sz="1100" b="1" kern="0" spc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75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채권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78.6(59.4)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>
                          <a:solidFill>
                            <a:srgbClr val="FF0000"/>
                          </a:solidFill>
                          <a:effectLst/>
                          <a:latin typeface="맑은 고딕"/>
                        </a:rPr>
                        <a:t>6.97</a:t>
                      </a:r>
                      <a:endParaRPr lang="en-US" sz="1100" b="1" kern="0" spc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73.5(33.6)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>
                          <a:solidFill>
                            <a:srgbClr val="FF0000"/>
                          </a:solidFill>
                          <a:effectLst/>
                          <a:latin typeface="맑은 고딕"/>
                        </a:rPr>
                        <a:t>3.22</a:t>
                      </a:r>
                      <a:endParaRPr lang="en-US" sz="1100" b="1" kern="0" spc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77.3(24.63)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>
                          <a:solidFill>
                            <a:srgbClr val="FF0000"/>
                          </a:solidFill>
                          <a:effectLst/>
                          <a:latin typeface="맑은 고딕"/>
                        </a:rPr>
                        <a:t>8.30</a:t>
                      </a:r>
                      <a:endParaRPr lang="en-US" sz="1100" b="1" kern="0" spc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75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대체투자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6.7(9.9)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>
                          <a:solidFill>
                            <a:srgbClr val="FF0000"/>
                          </a:solidFill>
                          <a:effectLst/>
                          <a:latin typeface="맑은 고딕"/>
                        </a:rPr>
                        <a:t>12.5</a:t>
                      </a:r>
                      <a:endParaRPr lang="en-US" sz="1100" b="1" kern="0" spc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80.1(36.5)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>
                          <a:solidFill>
                            <a:srgbClr val="FF0000"/>
                          </a:solidFill>
                          <a:effectLst/>
                          <a:latin typeface="맑은 고딕"/>
                        </a:rPr>
                        <a:t>26.46</a:t>
                      </a:r>
                      <a:endParaRPr lang="en-US" sz="1100" b="1" kern="0" spc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5.6(20.92)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>
                          <a:solidFill>
                            <a:srgbClr val="FF0000"/>
                          </a:solidFill>
                          <a:effectLst/>
                          <a:latin typeface="맑은 고딕"/>
                        </a:rPr>
                        <a:t>16.14</a:t>
                      </a:r>
                      <a:endParaRPr lang="en-US" sz="1100" b="1" kern="0" spc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75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단기자금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.4(0.7)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>
                          <a:solidFill>
                            <a:srgbClr val="FF0000"/>
                          </a:solidFill>
                          <a:effectLst/>
                          <a:latin typeface="맑은 고딕"/>
                        </a:rPr>
                        <a:t>2.02</a:t>
                      </a:r>
                      <a:endParaRPr lang="en-US" sz="1100" b="1" kern="0" spc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>
                          <a:solidFill>
                            <a:srgbClr val="FF0000"/>
                          </a:solidFill>
                          <a:effectLst/>
                          <a:latin typeface="맑은 고딕"/>
                        </a:rPr>
                        <a:t>-</a:t>
                      </a:r>
                      <a:endParaRPr lang="en-US" sz="1100" b="1" kern="0" spc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1.0(3.52)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>
                          <a:solidFill>
                            <a:srgbClr val="FF0000"/>
                          </a:solidFill>
                          <a:effectLst/>
                          <a:latin typeface="맑은 고딕"/>
                        </a:rPr>
                        <a:t>0.60</a:t>
                      </a:r>
                      <a:endParaRPr lang="en-US" sz="1100" b="1" kern="0" spc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75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계</a:t>
                      </a:r>
                      <a:endParaRPr lang="ko-KR" altLang="en-US" sz="1000" b="1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69.3(100)</a:t>
                      </a:r>
                      <a:endParaRPr lang="en-US" sz="1000" b="1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>
                          <a:solidFill>
                            <a:srgbClr val="FF0000"/>
                          </a:solidFill>
                          <a:effectLst/>
                          <a:latin typeface="맑은 고딕"/>
                        </a:rPr>
                        <a:t>5.25</a:t>
                      </a:r>
                      <a:endParaRPr lang="en-US" sz="1100" b="1" kern="0" spc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19.1(100)</a:t>
                      </a:r>
                      <a:endParaRPr lang="en-US" sz="10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>
                          <a:solidFill>
                            <a:srgbClr val="FF0000"/>
                          </a:solidFill>
                          <a:effectLst/>
                          <a:latin typeface="맑은 고딕"/>
                        </a:rPr>
                        <a:t>16.93</a:t>
                      </a:r>
                      <a:endParaRPr lang="en-US" sz="1100" b="1" kern="0" spc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13.7(100)</a:t>
                      </a:r>
                      <a:endParaRPr lang="en-US" sz="1000" b="1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 dirty="0">
                          <a:solidFill>
                            <a:srgbClr val="FF0000"/>
                          </a:solidFill>
                          <a:effectLst/>
                          <a:latin typeface="맑은 고딕"/>
                        </a:rPr>
                        <a:t>18.07</a:t>
                      </a:r>
                      <a:endParaRPr lang="en-US" sz="1100" b="1" kern="0" spc="0" dirty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48757" marR="48757" marT="13480" marB="1348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직사각형 4"/>
          <p:cNvSpPr/>
          <p:nvPr/>
        </p:nvSpPr>
        <p:spPr>
          <a:xfrm>
            <a:off x="2309911" y="1879710"/>
            <a:ext cx="4572000" cy="2923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base" latinLnBrk="0"/>
            <a:r>
              <a:rPr lang="en-US" altLang="ko-KR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3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연기금과</a:t>
            </a:r>
            <a:r>
              <a:rPr lang="ko-KR" altLang="en-US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3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해외공적연기금의</a:t>
            </a:r>
            <a:r>
              <a:rPr lang="ko-KR" altLang="en-US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기금운용수익률 현황 </a:t>
            </a:r>
            <a:r>
              <a:rPr lang="en-US" altLang="ko-KR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3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406154" y="3902330"/>
            <a:ext cx="735051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ko-KR" altLang="en-US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* 연기금의 국내주식 투자액은 </a:t>
            </a:r>
            <a:r>
              <a:rPr lang="en-US" altLang="ko-KR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83.9</a:t>
            </a:r>
            <a:r>
              <a:rPr lang="ko-KR" altLang="en-US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조원</a:t>
            </a:r>
            <a:r>
              <a:rPr lang="en-US" altLang="ko-KR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(17.9%), </a:t>
            </a:r>
            <a:r>
              <a:rPr lang="ko-KR" altLang="en-US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수익률은 </a:t>
            </a:r>
            <a:r>
              <a:rPr lang="en-US" altLang="ko-KR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–5.43%, </a:t>
            </a:r>
            <a:r>
              <a:rPr lang="ko-KR" altLang="en-US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해외주식의 투자액은 </a:t>
            </a:r>
            <a:r>
              <a:rPr lang="en-US" altLang="ko-KR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56.7</a:t>
            </a:r>
            <a:r>
              <a:rPr lang="ko-KR" altLang="en-US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조원</a:t>
            </a:r>
            <a:r>
              <a:rPr lang="en-US" altLang="ko-KR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(12.1%), </a:t>
            </a:r>
            <a:r>
              <a:rPr lang="ko-KR" altLang="en-US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수익률은 </a:t>
            </a:r>
            <a:r>
              <a:rPr lang="en-US" altLang="ko-KR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8.94%</a:t>
            </a:r>
            <a:endParaRPr lang="ko-KR" altLang="en-US" sz="10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94720" y="4267280"/>
            <a:ext cx="8767827" cy="15927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altLang="ko-KR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「기금운용본부 독립</a:t>
            </a:r>
            <a:r>
              <a:rPr lang="en-US" altLang="ko-KR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공사화</a:t>
            </a:r>
            <a:r>
              <a:rPr lang="ko-KR" altLang="en-US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」 고려사항</a:t>
            </a: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ko-KR" altLang="en-US" sz="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가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연금재정리스크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관리 위해 자산운용측면에서도 자구책 강구 등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금융전문조직으로의 혁신」 필요</a:t>
            </a:r>
            <a:endParaRPr lang="ko-KR" altLang="en-US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부분적립방식의 특성상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최고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심의위원회와 기금운용 컨트롤 타워간 긴밀한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연계」 필요</a:t>
            </a:r>
            <a:endParaRPr lang="ko-KR" altLang="en-US" sz="1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기금운용위원회의 대표성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전문성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폭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강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강화한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주도적 기금운용위원회」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구축과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운영 필요</a:t>
            </a:r>
            <a:endParaRPr lang="ko-KR" altLang="en-US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75037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>
          <a:xfrm>
            <a:off x="421818" y="4259992"/>
            <a:ext cx="8337707" cy="18105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364285" y="260648"/>
            <a:ext cx="846324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민연금 사각지대 해소① 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경력단절여성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및 전업주부 등」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11997" y="830107"/>
            <a:ext cx="8767827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민연금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98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’07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두 차례에 걸쳐 연금지급 수준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70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%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➝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40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%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로 크게 낮춤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남성세대주 부양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외벌이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가구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모델’에서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연금가입자위주 지급모델’로 변경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그 결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경력단절여성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200</a:t>
            </a:r>
            <a:r>
              <a:rPr lang="ko-KR" altLang="en-US" sz="15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만명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전업주부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취업여성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) 20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만명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200" dirty="0">
                <a:latin typeface="휴먼명조" panose="02010504000101010101" pitchFamily="2" charset="-127"/>
                <a:ea typeface="휴먼명조" panose="02010504000101010101" pitchFamily="2" charset="-127"/>
              </a:rPr>
              <a:t>&lt;‘14</a:t>
            </a:r>
            <a:r>
              <a:rPr lang="ko-KR" altLang="en-US" sz="12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200" dirty="0"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r>
              <a:rPr lang="ko-KR" altLang="en-US" sz="12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연금 사각지대에 놓여</a:t>
            </a:r>
          </a:p>
          <a:p>
            <a:pPr fontAlgn="base">
              <a:lnSpc>
                <a:spcPct val="150000"/>
              </a:lnSpc>
            </a:pP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구체적인 문제점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-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노후보장제도 및 수준 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중심</a:t>
            </a:r>
            <a:endParaRPr lang="en-US" altLang="ko-KR" sz="1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ko-KR" altLang="en-US" sz="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현재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 가구 기준 최저생계비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4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603,403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원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에 불과한 「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외벌이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가구」의 노후보장 수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열악한 「유족연금</a:t>
            </a:r>
            <a:r>
              <a:rPr lang="en-US" altLang="ko-KR" sz="11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1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평균 </a:t>
            </a:r>
            <a:r>
              <a:rPr lang="en-US" altLang="ko-KR" sz="11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5</a:t>
            </a:r>
            <a:r>
              <a:rPr lang="ko-KR" altLang="en-US" sz="11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원</a:t>
            </a:r>
            <a:r>
              <a:rPr lang="en-US" altLang="ko-KR" sz="11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‘</a:t>
            </a:r>
            <a:r>
              <a:rPr lang="en-US" altLang="ko-KR" sz="11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1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1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 수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현재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8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명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최저생계비의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2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%·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전체 </a:t>
            </a:r>
            <a:r>
              <a:rPr lang="ko-KR" altLang="en-US" sz="15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평균액의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2.5%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에 불과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이혼 등 사유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급자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급액도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적은 분할지급 연금제도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당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급액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25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천원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11,900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명에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불과 </a:t>
            </a:r>
            <a:r>
              <a:rPr lang="en-US" altLang="ko-KR" sz="12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lt;‘</a:t>
            </a:r>
            <a:r>
              <a:rPr lang="en-US" altLang="ko-KR" sz="12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4&gt;</a:t>
            </a:r>
            <a:endParaRPr lang="ko-KR" altLang="en-US" sz="12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여성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연금사각지대 완화에 기여하지 못하는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출산크레딧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부분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친권자인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남성배우자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획득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38133" y="6238125"/>
            <a:ext cx="8549703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전업주부 등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최소가입불충족자 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17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일시금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추납」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통한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적용제외자 감소방안」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en-US" altLang="ko-KR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194720" y="632450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6591091" y="168604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322109" y="133416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3799276" y="317168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5111575" y="349440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5559649" y="386722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7" name="Picture 3" descr="C:\Users\assembly\Desktop\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8436" y="4364137"/>
            <a:ext cx="1706614" cy="1604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711242" y="4827286"/>
            <a:ext cx="16163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연금</a:t>
            </a:r>
            <a:endParaRPr lang="en-US" altLang="ko-KR" sz="16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각지</a:t>
            </a:r>
            <a:r>
              <a:rPr lang="ko-KR" altLang="en-US" sz="16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대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60578" y="4803608"/>
            <a:ext cx="1616357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경력단절여성</a:t>
            </a:r>
            <a:endParaRPr lang="en-US" altLang="ko-KR" sz="12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ctr"/>
            <a:endParaRPr lang="en-US" altLang="ko-KR" sz="5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ctr"/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00</a:t>
            </a:r>
            <a:r>
              <a:rPr lang="ko-KR" altLang="en-US" sz="16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만명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8" name="Picture 2" descr="C:\Users\assembly\Desktop\2013080502859_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2984" y="4212162"/>
            <a:ext cx="3024336" cy="1815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7377057" y="4712655"/>
            <a:ext cx="1616357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전업주부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2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비취업여성</a:t>
            </a:r>
            <a:r>
              <a:rPr lang="en-US" altLang="ko-KR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</a:p>
          <a:p>
            <a:pPr algn="ctr"/>
            <a:endParaRPr lang="en-US" altLang="ko-KR" sz="5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ctr"/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0</a:t>
            </a:r>
            <a:r>
              <a:rPr lang="ko-KR" altLang="en-US" sz="16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만명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78313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2027" y="371990"/>
            <a:ext cx="846324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민연금 사각지대 해소② 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가입대상 확대 지원정책의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실효성」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80373" y="1042500"/>
            <a:ext cx="876782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연금 사각지대 해소 일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실업크레딧제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시간제 및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8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 미만 근로자 사업장 가입 확대정책 시행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예정</a:t>
            </a:r>
            <a:endParaRPr lang="ko-KR" altLang="en-US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실업크레딧제도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최대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기한으로 연금보험료의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75%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원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본인부담률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5%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 이상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60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시간 이상 근로 사업장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21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만명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대상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50%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원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용자부담률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0%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8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 미만 근로자 사업장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2.2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만명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대상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50%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원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용자부담률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0%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0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문제점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endParaRPr lang="en-US" altLang="ko-KR" sz="1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실업크레딧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대상자 ‘한정’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으로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인한 부실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고용노동부에서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실업급여를 받는 사람만 대상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시간제 및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8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세이하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저임금 근로자의 보험금 납부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본인부담률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0%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담 가중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56572" y="6225782"/>
            <a:ext cx="8587428" cy="4138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해외사례 참고</a:t>
            </a:r>
            <a:r>
              <a:rPr lang="en-US" altLang="ko-KR" sz="16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‘</a:t>
            </a:r>
            <a:r>
              <a:rPr lang="ko-KR" altLang="en-US" sz="16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근무시간</a:t>
            </a:r>
            <a:r>
              <a:rPr lang="en-US" altLang="ko-KR" sz="16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’</a:t>
            </a:r>
            <a:r>
              <a:rPr lang="ko-KR" altLang="en-US" sz="16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다</a:t>
            </a:r>
            <a:r>
              <a:rPr lang="en-US" altLang="ko-KR" sz="16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‘</a:t>
            </a:r>
            <a:r>
              <a:rPr lang="ko-KR" altLang="en-US" sz="16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임금</a:t>
            </a:r>
            <a:r>
              <a:rPr lang="en-US" altLang="ko-KR" sz="16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’</a:t>
            </a:r>
            <a:r>
              <a:rPr lang="ko-KR" altLang="en-US" sz="16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으로 산정</a:t>
            </a:r>
            <a:r>
              <a:rPr lang="en-US" altLang="ko-KR" sz="16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r>
              <a:rPr lang="ko-KR" altLang="en-US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가입대상 확대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수급 보장」 </a:t>
            </a:r>
            <a:r>
              <a:rPr lang="ko-KR" altLang="en-US" sz="16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en-US" altLang="ko-KR" sz="165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180373" y="630749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4456274" y="327474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5027995" y="360740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5916229" y="154655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5792212" y="188651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4991788" y="223542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4" name="Picture 2" descr="C:\Users\assembly\Desktop\a_000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835" y="4598144"/>
            <a:ext cx="1548003" cy="1317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 descr="C:\Users\assembly\Desktop\a_000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5757" y="4653136"/>
            <a:ext cx="1909519" cy="1207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3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4060" y="4235832"/>
            <a:ext cx="4387544" cy="1679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3724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4287" y="526242"/>
            <a:ext cx="8463249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베이비부머</a:t>
            </a:r>
            <a:r>
              <a:rPr lang="ko-KR" altLang="en-US" sz="2400" dirty="0">
                <a:latin typeface="HY견고딕" panose="02030600000101010101" pitchFamily="18" charset="-127"/>
                <a:ea typeface="HY견고딕" panose="02030600000101010101" pitchFamily="18" charset="-127"/>
              </a:rPr>
              <a:t> 세대</a:t>
            </a:r>
            <a:r>
              <a:rPr lang="en-US" altLang="ko-KR" sz="2400" dirty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노령연금 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수급권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확대 및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개선」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altLang="ko-KR" sz="2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92633" y="1196752"/>
            <a:ext cx="876782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베이비부머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세대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1955~63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출생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52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세∼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60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세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) 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전체인구의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4.4%,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총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737</a:t>
            </a:r>
            <a:r>
              <a:rPr lang="ko-KR" altLang="en-US" sz="15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명</a:t>
            </a:r>
            <a:r>
              <a:rPr lang="en-US" altLang="ko-KR" sz="11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‘14</a:t>
            </a:r>
            <a:r>
              <a:rPr lang="ko-KR" altLang="en-US" sz="11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기준</a:t>
            </a:r>
            <a:r>
              <a:rPr lang="en-US" altLang="ko-KR" sz="11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ko-KR" altLang="en-US" sz="11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향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여 년간 본격적인 은퇴 이행 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문제는 </a:t>
            </a:r>
            <a:r>
              <a:rPr lang="ko-KR" altLang="en-US" sz="15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연금가입률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공적연금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1.8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%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인연금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5.8%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한국 평균수명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81.9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세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강수명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6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세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경제수명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9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세로 평균수명 대비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차이</a:t>
            </a:r>
            <a:r>
              <a:rPr lang="en-US" altLang="ko-KR" sz="11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1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통계청</a:t>
            </a:r>
            <a:r>
              <a:rPr lang="en-US" altLang="ko-KR" sz="11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‘14)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사실상 전무한 </a:t>
            </a:r>
            <a:r>
              <a:rPr lang="ko-KR" altLang="en-US" sz="15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베이비부머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세대 노후준비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은퇴 후 노후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에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빈곤층 전략 가능성 높음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95273" y="6018155"/>
            <a:ext cx="8403888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수급개시 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연령도달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前 최대 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납부이력 확대 위한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가입 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활성화 대책」 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등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마련 필요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23725" y="610453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4283968" y="239269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4681193" y="135962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2514699" y="204076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3851920" y="170080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1" name="표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1026674"/>
              </p:ext>
            </p:extLst>
          </p:nvPr>
        </p:nvGraphicFramePr>
        <p:xfrm>
          <a:off x="3025009" y="3051137"/>
          <a:ext cx="3528392" cy="2472705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800200"/>
                <a:gridCol w="648072"/>
                <a:gridCol w="648072"/>
                <a:gridCol w="432048"/>
              </a:tblGrid>
              <a:tr h="43484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1955~1963</a:t>
                      </a:r>
                      <a:r>
                        <a:rPr lang="ko-KR" altLang="en-US" sz="1100" dirty="0" smtClean="0"/>
                        <a:t>년생 기준</a:t>
                      </a:r>
                      <a:endParaRPr lang="ko-KR" altLang="en-US" sz="1100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/>
                        <a:t>인원</a:t>
                      </a:r>
                      <a:endParaRPr lang="en-US" altLang="ko-KR" sz="1100" dirty="0" smtClean="0"/>
                    </a:p>
                    <a:p>
                      <a:pPr algn="ctr" latinLnBrk="1"/>
                      <a:r>
                        <a:rPr lang="en-US" altLang="ko-KR" sz="1100" dirty="0" smtClean="0"/>
                        <a:t>(</a:t>
                      </a:r>
                      <a:r>
                        <a:rPr lang="ko-KR" altLang="en-US" sz="1100" dirty="0" err="1" smtClean="0"/>
                        <a:t>만명</a:t>
                      </a:r>
                      <a:r>
                        <a:rPr lang="en-US" altLang="ko-KR" sz="1100" dirty="0" smtClean="0"/>
                        <a:t>)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/>
                        <a:t>비중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가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입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자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89387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/>
                        <a:t>현재 보험료 </a:t>
                      </a:r>
                      <a:r>
                        <a:rPr lang="ko-KR" altLang="en-US" sz="1100" dirty="0" err="1" smtClean="0"/>
                        <a:t>납부중</a:t>
                      </a:r>
                      <a:endParaRPr lang="ko-KR" altLang="en-US" sz="1100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373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49.2%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/>
                    </a:p>
                  </a:txBody>
                  <a:tcPr anchor="ctr"/>
                </a:tc>
              </a:tr>
              <a:tr h="434848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/>
                        <a:t>실직</a:t>
                      </a:r>
                      <a:r>
                        <a:rPr lang="en-US" altLang="ko-KR" sz="1100" dirty="0" smtClean="0"/>
                        <a:t>·</a:t>
                      </a:r>
                      <a:r>
                        <a:rPr lang="ko-KR" altLang="en-US" sz="1100" dirty="0" smtClean="0"/>
                        <a:t>사업중단 등으로 </a:t>
                      </a:r>
                      <a:endParaRPr lang="en-US" altLang="ko-KR" sz="1100" dirty="0" smtClean="0"/>
                    </a:p>
                    <a:p>
                      <a:pPr latinLnBrk="1"/>
                      <a:r>
                        <a:rPr lang="ko-KR" altLang="en-US" sz="1100" dirty="0" smtClean="0"/>
                        <a:t>납부 예외</a:t>
                      </a:r>
                      <a:r>
                        <a:rPr lang="en-US" altLang="ko-KR" sz="1100" dirty="0" smtClean="0"/>
                        <a:t>(</a:t>
                      </a:r>
                      <a:r>
                        <a:rPr lang="ko-KR" altLang="en-US" sz="1100" dirty="0" err="1" smtClean="0"/>
                        <a:t>미납중</a:t>
                      </a:r>
                      <a:r>
                        <a:rPr lang="en-US" altLang="ko-KR" sz="1100" dirty="0" smtClean="0"/>
                        <a:t>)</a:t>
                      </a:r>
                      <a:endParaRPr lang="ko-KR" altLang="en-US" sz="1100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101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13.3%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/>
                    </a:p>
                  </a:txBody>
                  <a:tcPr anchor="ctr"/>
                </a:tc>
              </a:tr>
              <a:tr h="434848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/>
                        <a:t>공무원 군인 등 </a:t>
                      </a:r>
                      <a:endParaRPr lang="en-US" altLang="ko-KR" sz="1100" dirty="0" smtClean="0"/>
                    </a:p>
                    <a:p>
                      <a:pPr latinLnBrk="1"/>
                      <a:r>
                        <a:rPr lang="ko-KR" altLang="en-US" sz="1100" dirty="0" smtClean="0"/>
                        <a:t>특수 연금</a:t>
                      </a:r>
                      <a:r>
                        <a:rPr lang="en-US" altLang="ko-KR" sz="1100" baseline="0" dirty="0" smtClean="0"/>
                        <a:t> </a:t>
                      </a:r>
                      <a:r>
                        <a:rPr lang="ko-KR" altLang="en-US" sz="1100" dirty="0" smtClean="0"/>
                        <a:t>가입</a:t>
                      </a:r>
                      <a:endParaRPr lang="ko-KR" altLang="en-US" sz="1100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40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5.3%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/>
                        <a:t>미</a:t>
                      </a:r>
                      <a:endParaRPr lang="en-US" altLang="ko-KR" sz="1100" b="1" dirty="0" smtClean="0"/>
                    </a:p>
                    <a:p>
                      <a:pPr algn="ctr" latinLnBrk="1"/>
                      <a:r>
                        <a:rPr lang="ko-KR" altLang="en-US" sz="1100" b="1" dirty="0" smtClean="0"/>
                        <a:t>가입</a:t>
                      </a:r>
                      <a:endParaRPr lang="en-US" altLang="ko-KR" sz="1100" b="1" dirty="0" smtClean="0"/>
                    </a:p>
                    <a:p>
                      <a:pPr algn="ctr" latinLnBrk="1"/>
                      <a:r>
                        <a:rPr lang="ko-KR" altLang="en-US" sz="1100" b="1" dirty="0" smtClean="0"/>
                        <a:t>자</a:t>
                      </a:r>
                      <a:endParaRPr lang="ko-KR" altLang="en-US" sz="1100" b="1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89387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/>
                        <a:t>조기노령연금수급</a:t>
                      </a:r>
                      <a:endParaRPr lang="ko-KR" altLang="en-US" sz="1100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30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0.4%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/>
                    </a:p>
                  </a:txBody>
                  <a:tcPr anchor="ctr"/>
                </a:tc>
              </a:tr>
              <a:tr h="389387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/>
                        <a:t>전업주부 등 </a:t>
                      </a:r>
                      <a:r>
                        <a:rPr lang="ko-KR" altLang="en-US" sz="1100" dirty="0" err="1" smtClean="0"/>
                        <a:t>미가입</a:t>
                      </a:r>
                      <a:r>
                        <a:rPr lang="ko-KR" altLang="en-US" sz="1100" dirty="0" smtClean="0"/>
                        <a:t> 대상</a:t>
                      </a:r>
                      <a:endParaRPr lang="ko-KR" altLang="en-US" sz="1100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241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/>
                        <a:t>31.</a:t>
                      </a:r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14" name="그림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956" y="3134824"/>
            <a:ext cx="2268329" cy="2460559"/>
          </a:xfrm>
          <a:prstGeom prst="rect">
            <a:avLst/>
          </a:prstGeom>
        </p:spPr>
      </p:pic>
      <p:sp>
        <p:nvSpPr>
          <p:cNvPr id="15" name="사각형 설명선 14"/>
          <p:cNvSpPr/>
          <p:nvPr/>
        </p:nvSpPr>
        <p:spPr>
          <a:xfrm rot="5400000">
            <a:off x="6505455" y="3212976"/>
            <a:ext cx="2483922" cy="2160240"/>
          </a:xfrm>
          <a:prstGeom prst="wedgeRectCallout">
            <a:avLst>
              <a:gd name="adj1" fmla="val -20477"/>
              <a:gd name="adj2" fmla="val 5720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/>
          <p:cNvSpPr/>
          <p:nvPr/>
        </p:nvSpPr>
        <p:spPr>
          <a:xfrm>
            <a:off x="6883320" y="3518833"/>
            <a:ext cx="1800200" cy="187220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TextBox 16"/>
          <p:cNvSpPr txBox="1"/>
          <p:nvPr/>
        </p:nvSpPr>
        <p:spPr>
          <a:xfrm>
            <a:off x="6775150" y="3058789"/>
            <a:ext cx="20165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이모씨의 국민연금 가입사례</a:t>
            </a:r>
            <a:endParaRPr lang="en-US" altLang="ko-KR" sz="11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r>
              <a:rPr lang="en-US" altLang="ko-KR" sz="9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(</a:t>
            </a:r>
            <a:r>
              <a:rPr lang="ko-KR" altLang="en-US" sz="9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베이비부모세대의 평균에 해당</a:t>
            </a:r>
            <a:r>
              <a:rPr lang="en-US" altLang="ko-KR" sz="9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)</a:t>
            </a:r>
            <a:endParaRPr lang="ko-KR" altLang="en-US" sz="9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883320" y="3595276"/>
            <a:ext cx="18002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dirty="0" smtClean="0">
                <a:latin typeface="+mn-ea"/>
              </a:rPr>
              <a:t>현재 연령 </a:t>
            </a:r>
            <a:r>
              <a:rPr lang="en-US" altLang="ko-KR" sz="900" dirty="0" smtClean="0">
                <a:latin typeface="+mn-ea"/>
              </a:rPr>
              <a:t>…</a:t>
            </a:r>
            <a:r>
              <a:rPr lang="en-US" altLang="ko-KR" sz="900" dirty="0">
                <a:latin typeface="+mn-ea"/>
              </a:rPr>
              <a:t>…</a:t>
            </a:r>
            <a:r>
              <a:rPr lang="en-US" altLang="ko-KR" sz="900" dirty="0" smtClean="0">
                <a:latin typeface="+mn-ea"/>
              </a:rPr>
              <a:t> (62</a:t>
            </a:r>
            <a:r>
              <a:rPr lang="ko-KR" altLang="en-US" sz="900" dirty="0" smtClean="0">
                <a:latin typeface="+mn-ea"/>
              </a:rPr>
              <a:t>년생</a:t>
            </a:r>
            <a:r>
              <a:rPr lang="en-US" altLang="ko-KR" sz="900" dirty="0" smtClean="0">
                <a:latin typeface="+mn-ea"/>
              </a:rPr>
              <a:t>) </a:t>
            </a:r>
            <a:r>
              <a:rPr lang="ko-KR" altLang="en-US" sz="900" dirty="0" smtClean="0">
                <a:latin typeface="+mn-ea"/>
              </a:rPr>
              <a:t>만</a:t>
            </a:r>
            <a:r>
              <a:rPr lang="en-US" altLang="ko-KR" sz="900" dirty="0" smtClean="0">
                <a:latin typeface="+mn-ea"/>
              </a:rPr>
              <a:t>53</a:t>
            </a:r>
            <a:r>
              <a:rPr lang="ko-KR" altLang="en-US" sz="900" dirty="0" smtClean="0">
                <a:latin typeface="+mn-ea"/>
              </a:rPr>
              <a:t>세</a:t>
            </a:r>
            <a:endParaRPr lang="en-US" altLang="ko-KR" sz="900" dirty="0" smtClean="0">
              <a:latin typeface="+mn-ea"/>
            </a:endParaRPr>
          </a:p>
          <a:p>
            <a:endParaRPr lang="en-US" altLang="ko-KR" sz="900" dirty="0">
              <a:latin typeface="+mn-ea"/>
            </a:endParaRPr>
          </a:p>
          <a:p>
            <a:r>
              <a:rPr lang="ko-KR" altLang="en-US" sz="900" dirty="0" smtClean="0">
                <a:latin typeface="+mn-ea"/>
              </a:rPr>
              <a:t>연금 납부기간</a:t>
            </a:r>
            <a:endParaRPr lang="en-US" altLang="ko-KR" sz="900" dirty="0" smtClean="0">
              <a:latin typeface="+mn-ea"/>
            </a:endParaRPr>
          </a:p>
          <a:p>
            <a:r>
              <a:rPr lang="en-US" altLang="ko-KR" sz="900" dirty="0" smtClean="0">
                <a:latin typeface="+mn-ea"/>
              </a:rPr>
              <a:t>(10</a:t>
            </a:r>
            <a:r>
              <a:rPr lang="ko-KR" altLang="en-US" sz="900" dirty="0" smtClean="0">
                <a:latin typeface="+mn-ea"/>
              </a:rPr>
              <a:t>년</a:t>
            </a:r>
            <a:r>
              <a:rPr lang="en-US" altLang="ko-KR" sz="900" dirty="0" smtClean="0">
                <a:latin typeface="+mn-ea"/>
              </a:rPr>
              <a:t>8</a:t>
            </a:r>
            <a:r>
              <a:rPr lang="ko-KR" altLang="en-US" sz="900" dirty="0" err="1" smtClean="0">
                <a:latin typeface="+mn-ea"/>
              </a:rPr>
              <a:t>개월분</a:t>
            </a:r>
            <a:r>
              <a:rPr lang="en-US" altLang="ko-KR" sz="900" dirty="0">
                <a:latin typeface="+mn-ea"/>
              </a:rPr>
              <a:t>) </a:t>
            </a:r>
            <a:r>
              <a:rPr lang="en-US" altLang="ko-KR" sz="900" dirty="0" smtClean="0">
                <a:latin typeface="+mn-ea"/>
              </a:rPr>
              <a:t>………</a:t>
            </a:r>
            <a:r>
              <a:rPr lang="en-US" altLang="ko-KR" sz="900" dirty="0">
                <a:latin typeface="+mn-ea"/>
              </a:rPr>
              <a:t>…</a:t>
            </a:r>
            <a:r>
              <a:rPr lang="en-US" altLang="ko-KR" sz="900" dirty="0" smtClean="0">
                <a:latin typeface="+mn-ea"/>
              </a:rPr>
              <a:t> 128</a:t>
            </a:r>
            <a:r>
              <a:rPr lang="ko-KR" altLang="en-US" sz="900" dirty="0" smtClean="0">
                <a:latin typeface="+mn-ea"/>
              </a:rPr>
              <a:t>개월</a:t>
            </a:r>
            <a:endParaRPr lang="en-US" altLang="ko-KR" sz="900" dirty="0" smtClean="0">
              <a:latin typeface="+mn-ea"/>
            </a:endParaRPr>
          </a:p>
          <a:p>
            <a:endParaRPr lang="en-US" altLang="ko-KR" sz="900" dirty="0" smtClean="0">
              <a:latin typeface="+mn-ea"/>
            </a:endParaRPr>
          </a:p>
          <a:p>
            <a:r>
              <a:rPr lang="ko-KR" altLang="en-US" sz="900" dirty="0" smtClean="0">
                <a:latin typeface="+mn-ea"/>
              </a:rPr>
              <a:t>현재 </a:t>
            </a:r>
            <a:r>
              <a:rPr lang="ko-KR" altLang="en-US" sz="900" dirty="0" err="1" smtClean="0">
                <a:latin typeface="+mn-ea"/>
              </a:rPr>
              <a:t>월소득</a:t>
            </a:r>
            <a:r>
              <a:rPr lang="ko-KR" altLang="en-US" sz="900" dirty="0" smtClean="0">
                <a:latin typeface="+mn-ea"/>
              </a:rPr>
              <a:t> </a:t>
            </a:r>
            <a:r>
              <a:rPr lang="ko-KR" altLang="en-US" sz="900" dirty="0" err="1" smtClean="0">
                <a:latin typeface="+mn-ea"/>
              </a:rPr>
              <a:t>신고액</a:t>
            </a:r>
            <a:r>
              <a:rPr lang="ko-KR" altLang="en-US" sz="900" dirty="0" smtClean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</a:rPr>
              <a:t>… 168</a:t>
            </a:r>
            <a:r>
              <a:rPr lang="ko-KR" altLang="en-US" sz="900" dirty="0" smtClean="0">
                <a:latin typeface="+mn-ea"/>
              </a:rPr>
              <a:t>만원</a:t>
            </a:r>
            <a:endParaRPr lang="en-US" altLang="ko-KR" sz="900" dirty="0" smtClean="0">
              <a:latin typeface="+mn-ea"/>
            </a:endParaRPr>
          </a:p>
          <a:p>
            <a:endParaRPr lang="en-US" altLang="ko-KR" sz="900" dirty="0">
              <a:latin typeface="+mn-ea"/>
            </a:endParaRPr>
          </a:p>
          <a:p>
            <a:r>
              <a:rPr lang="ko-KR" altLang="en-US" sz="900" dirty="0" smtClean="0">
                <a:latin typeface="+mn-ea"/>
              </a:rPr>
              <a:t>매월 납부 보험료 </a:t>
            </a:r>
            <a:r>
              <a:rPr lang="en-US" altLang="ko-KR" sz="900" spc="-150" dirty="0" smtClean="0">
                <a:latin typeface="+mn-ea"/>
              </a:rPr>
              <a:t>……  15</a:t>
            </a:r>
            <a:r>
              <a:rPr lang="ko-KR" altLang="en-US" sz="900" spc="-150" dirty="0" smtClean="0">
                <a:latin typeface="+mn-ea"/>
              </a:rPr>
              <a:t>만</a:t>
            </a:r>
            <a:r>
              <a:rPr lang="en-US" altLang="ko-KR" sz="900" spc="-150" dirty="0" smtClean="0">
                <a:latin typeface="+mn-ea"/>
              </a:rPr>
              <a:t>1,200</a:t>
            </a:r>
            <a:r>
              <a:rPr lang="ko-KR" altLang="en-US" sz="900" spc="-150" dirty="0" smtClean="0">
                <a:latin typeface="+mn-ea"/>
              </a:rPr>
              <a:t>원</a:t>
            </a:r>
            <a:endParaRPr lang="en-US" altLang="ko-KR" sz="900" spc="-150" dirty="0" smtClean="0">
              <a:latin typeface="+mn-ea"/>
            </a:endParaRPr>
          </a:p>
          <a:p>
            <a:endParaRPr lang="en-US" altLang="ko-KR" sz="900" spc="-150" dirty="0">
              <a:latin typeface="+mn-ea"/>
            </a:endParaRPr>
          </a:p>
          <a:p>
            <a:r>
              <a:rPr lang="ko-KR" altLang="en-US" sz="900" spc="-150" dirty="0" smtClean="0">
                <a:latin typeface="+mn-ea"/>
              </a:rPr>
              <a:t>연금 수령시작</a:t>
            </a:r>
            <a:r>
              <a:rPr lang="en-US" altLang="ko-KR" sz="900" spc="-150" dirty="0" smtClean="0">
                <a:latin typeface="+mn-ea"/>
              </a:rPr>
              <a:t>(60</a:t>
            </a:r>
            <a:r>
              <a:rPr lang="ko-KR" altLang="en-US" sz="900" spc="-150" dirty="0" smtClean="0">
                <a:latin typeface="+mn-ea"/>
              </a:rPr>
              <a:t>세까지 납부</a:t>
            </a:r>
            <a:r>
              <a:rPr lang="en-US" altLang="ko-KR" sz="900" spc="-150" dirty="0" smtClean="0">
                <a:latin typeface="+mn-ea"/>
              </a:rPr>
              <a:t>) </a:t>
            </a:r>
            <a:r>
              <a:rPr lang="en-US" altLang="ko-KR" sz="900" dirty="0" smtClean="0">
                <a:latin typeface="+mn-ea"/>
              </a:rPr>
              <a:t>… 63</a:t>
            </a:r>
            <a:r>
              <a:rPr lang="ko-KR" altLang="en-US" sz="900" dirty="0" smtClean="0">
                <a:latin typeface="+mn-ea"/>
              </a:rPr>
              <a:t>세</a:t>
            </a:r>
            <a:endParaRPr lang="en-US" altLang="ko-KR" sz="900" dirty="0" smtClean="0">
              <a:latin typeface="+mn-ea"/>
            </a:endParaRPr>
          </a:p>
          <a:p>
            <a:endParaRPr lang="en-US" altLang="ko-KR" sz="900" spc="-150" dirty="0">
              <a:latin typeface="+mn-ea"/>
            </a:endParaRPr>
          </a:p>
          <a:p>
            <a:r>
              <a:rPr lang="ko-KR" altLang="en-US" sz="900" dirty="0" smtClean="0">
                <a:latin typeface="+mn-ea"/>
              </a:rPr>
              <a:t>매월 수령액 </a:t>
            </a:r>
            <a:r>
              <a:rPr lang="en-US" altLang="ko-KR" sz="900" dirty="0" smtClean="0">
                <a:latin typeface="+mn-ea"/>
              </a:rPr>
              <a:t>……… 45</a:t>
            </a:r>
            <a:r>
              <a:rPr lang="ko-KR" altLang="en-US" sz="900" dirty="0" smtClean="0">
                <a:latin typeface="+mn-ea"/>
              </a:rPr>
              <a:t>만</a:t>
            </a:r>
            <a:r>
              <a:rPr lang="en-US" altLang="ko-KR" sz="900" dirty="0" smtClean="0">
                <a:latin typeface="+mn-ea"/>
              </a:rPr>
              <a:t>8,000</a:t>
            </a:r>
            <a:r>
              <a:rPr lang="ko-KR" altLang="en-US" sz="900" dirty="0" smtClean="0">
                <a:latin typeface="+mn-ea"/>
              </a:rPr>
              <a:t>원</a:t>
            </a:r>
            <a:endParaRPr lang="en-US" altLang="ko-KR" sz="9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72138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4286" y="332656"/>
            <a:ext cx="8463249" cy="41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정년연장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연금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에 미치는 영향」 진단</a:t>
            </a:r>
            <a:endParaRPr lang="en-US" altLang="ko-KR" sz="2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0138" y="926582"/>
            <a:ext cx="8767827" cy="3054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정년연장으로 생애소득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근속기간 증가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퇴직연금 납입 연장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인의 노후준비 여유</a:t>
            </a:r>
            <a:endParaRPr lang="en-US" altLang="ko-KR" sz="15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가입자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향후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‘16~‘17)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최소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87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천명에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서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최대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524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천명 증가 전망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급자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2020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부터 최소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6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천명에서 최대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8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천명 </a:t>
            </a:r>
            <a:r>
              <a:rPr lang="ko-KR" altLang="en-US" sz="15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연금수급권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확보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0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점 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en-US" altLang="ko-KR" sz="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현재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납입 보험료」보다 「</a:t>
            </a:r>
            <a:r>
              <a:rPr lang="ko-KR" altLang="en-US" sz="15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연금수급액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이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많은 구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년연장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연금 고갈 시기 앞당길 수도</a:t>
            </a:r>
            <a:endParaRPr lang="en-US" altLang="ko-KR" sz="15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「조기은퇴자」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정년연장 비적용자」의 수급공백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현실적 대안 마련 필요</a:t>
            </a:r>
            <a:endParaRPr lang="en-US" altLang="ko-KR" sz="15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(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예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수급개시연령이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58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생과 동일한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57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생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만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58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세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의 경우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정년연장 대상 제외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‘15.12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월 정년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후 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/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노령연금 수급개시연령인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62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세까지 약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3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간 연금수급공백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47617" y="6194581"/>
            <a:ext cx="8220348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년연장에 따른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수급 </a:t>
            </a:r>
            <a:r>
              <a:rPr lang="ko-KR" altLang="en-US" sz="17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공백자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에 대한 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한시적 구제대책」 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등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방안 마련 필요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45423" y="6283400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4131331" y="110676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오른쪽 화살표 19"/>
          <p:cNvSpPr/>
          <p:nvPr/>
        </p:nvSpPr>
        <p:spPr>
          <a:xfrm>
            <a:off x="5042486" y="279924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/>
          <p:cNvSpPr/>
          <p:nvPr/>
        </p:nvSpPr>
        <p:spPr>
          <a:xfrm>
            <a:off x="2284353" y="4157792"/>
            <a:ext cx="4572000" cy="2923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base" latinLnBrk="0"/>
            <a:r>
              <a:rPr lang="en-US" altLang="ko-KR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출생연도별 국민연금 수급연령 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3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0403118"/>
              </p:ext>
            </p:extLst>
          </p:nvPr>
        </p:nvGraphicFramePr>
        <p:xfrm>
          <a:off x="495401" y="4517832"/>
          <a:ext cx="8201020" cy="1424178"/>
        </p:xfrm>
        <a:graphic>
          <a:graphicData uri="http://schemas.openxmlformats.org/drawingml/2006/table">
            <a:tbl>
              <a:tblPr/>
              <a:tblGrid>
                <a:gridCol w="2050255"/>
                <a:gridCol w="2050255"/>
                <a:gridCol w="2050255"/>
                <a:gridCol w="2050255"/>
              </a:tblGrid>
              <a:tr h="177278"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출생연도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DED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수급개시연령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DED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9380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노령연금</a:t>
                      </a:r>
                      <a:endParaRPr lang="ko-KR" altLang="en-US" sz="1100" b="1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조기노령연금</a:t>
                      </a:r>
                      <a:endParaRPr lang="ko-KR" altLang="en-US" sz="1100" b="1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분할연금</a:t>
                      </a:r>
                      <a:endParaRPr lang="ko-KR" altLang="en-US" sz="1100" b="1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DED"/>
                    </a:solidFill>
                  </a:tcPr>
                </a:tc>
              </a:tr>
              <a:tr h="93803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1953~56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년생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61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세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56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세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61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세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803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1957~60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년생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62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세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57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세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62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세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803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1961~64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년생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63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세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58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세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63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세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803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1965~68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년생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64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세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59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세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65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세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803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1969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년생 이후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65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세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60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세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/>
                        </a:rPr>
                        <a:t>65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ea typeface="휴먼고딕"/>
                        </a:rPr>
                        <a:t>세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직사각형 4"/>
          <p:cNvSpPr/>
          <p:nvPr/>
        </p:nvSpPr>
        <p:spPr>
          <a:xfrm>
            <a:off x="2543200" y="4724932"/>
            <a:ext cx="2052711" cy="1224136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5252425" y="315350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82517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6602" y="332656"/>
            <a:ext cx="84632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통일한국에 대비한 </a:t>
            </a:r>
            <a:r>
              <a:rPr lang="en-US" altLang="ko-KR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국민연금 </a:t>
            </a:r>
            <a:r>
              <a:rPr lang="ko-KR" altLang="en-US" sz="23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통합 </a:t>
            </a:r>
            <a:r>
              <a:rPr lang="en-US" altLang="ko-KR" sz="23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R&amp;D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연구</a:t>
            </a:r>
            <a:r>
              <a:rPr lang="ko-KR" altLang="en-US" sz="23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84312" y="980728"/>
            <a:ext cx="8767827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통일독일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공적연금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통합형태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서독의 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공적연금제도가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동독의 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공적연금제도를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흡수</a:t>
            </a:r>
            <a:endParaRPr lang="en-US" altLang="ko-KR" sz="15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일방적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흡수배경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동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서독 모두 통일 연금플랜이 완료되지 않은 상태에서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진행됐기 때문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특히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서독 기준에 따라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수급액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률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결정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통일 후 연금재정 건전성 크게 악화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초래</a:t>
            </a:r>
            <a:endParaRPr lang="en-US" altLang="ko-KR" sz="15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0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6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공적연금</a:t>
            </a:r>
            <a:r>
              <a:rPr lang="ko-KR" altLang="en-US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통합에 대비한 </a:t>
            </a:r>
            <a:r>
              <a:rPr lang="en-US" altLang="ko-KR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R&amp;D </a:t>
            </a:r>
            <a:r>
              <a:rPr lang="ko-KR" altLang="en-US" sz="16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추진시</a:t>
            </a:r>
            <a:r>
              <a:rPr lang="ko-KR" altLang="en-US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고려사항 </a:t>
            </a: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ko-KR" altLang="en-US" sz="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① 복지국가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모형에 대한 중장기적인 목표 설정과 남북한의 정치경제력</a:t>
            </a:r>
          </a:p>
          <a:p>
            <a:pPr lvl="0"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② 남북한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사회복지제도의 법적 수준과 통합기준・속도・방식</a:t>
            </a:r>
          </a:p>
          <a:p>
            <a:pPr lvl="0"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남북한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사회복지의 양・질적 차이 및 사회인구학적 변화 추이</a:t>
            </a:r>
          </a:p>
          <a:p>
            <a:pPr lvl="0"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④ 남북한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격차 감소 및 북한의 기대감 부응에 요구되는 재원조달 방안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등</a:t>
            </a:r>
            <a:endParaRPr lang="ko-KR" altLang="en-US" sz="1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68386" y="5823817"/>
            <a:ext cx="8483753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상이한 </a:t>
            </a:r>
            <a:r>
              <a:rPr lang="ko-KR" altLang="en-US" sz="19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공적연금제도와</a:t>
            </a:r>
            <a:r>
              <a:rPr lang="ko-KR" altLang="en-US" sz="1900" dirty="0">
                <a:latin typeface="HY견고딕" panose="02030600000101010101" pitchFamily="18" charset="-127"/>
                <a:ea typeface="HY견고딕" panose="02030600000101010101" pitchFamily="18" charset="-127"/>
              </a:rPr>
              <a:t> 적용대상</a:t>
            </a:r>
            <a:r>
              <a:rPr lang="en-US" altLang="ko-KR" sz="1900" dirty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dirty="0">
                <a:latin typeface="HY견고딕" panose="02030600000101010101" pitchFamily="18" charset="-127"/>
                <a:ea typeface="HY견고딕" panose="02030600000101010101" pitchFamily="18" charset="-127"/>
              </a:rPr>
              <a:t>급여조건</a:t>
            </a:r>
            <a:r>
              <a:rPr lang="en-US" altLang="ko-KR" sz="1900" dirty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dirty="0">
                <a:latin typeface="HY견고딕" panose="02030600000101010101" pitchFamily="18" charset="-127"/>
                <a:ea typeface="HY견고딕" panose="02030600000101010101" pitchFamily="18" charset="-127"/>
              </a:rPr>
              <a:t>급여수준 등 감안한</a:t>
            </a:r>
          </a:p>
          <a:p>
            <a:pPr fontAlgn="base">
              <a:lnSpc>
                <a:spcPct val="150000"/>
              </a:lnSpc>
            </a:pPr>
            <a:r>
              <a:rPr lang="ko-KR" altLang="en-US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통일한국 연금제도의 </a:t>
            </a:r>
            <a:r>
              <a:rPr lang="ko-KR" altLang="en-US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현실적</a:t>
            </a:r>
            <a:r>
              <a:rPr lang="en-US" altLang="ko-KR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제도적</a:t>
            </a:r>
            <a:r>
              <a:rPr lang="en-US" altLang="ko-KR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실천적 문제 해결방안 연구」 </a:t>
            </a:r>
            <a:r>
              <a:rPr lang="ko-KR" altLang="en-US" sz="1900" dirty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</a:p>
        </p:txBody>
      </p:sp>
      <p:sp>
        <p:nvSpPr>
          <p:cNvPr id="7" name="오른쪽 화살표 6"/>
          <p:cNvSpPr/>
          <p:nvPr/>
        </p:nvSpPr>
        <p:spPr>
          <a:xfrm>
            <a:off x="239640" y="5949280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3143612" y="115049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3" name="오른쪽 화살표 12"/>
          <p:cNvSpPr/>
          <p:nvPr/>
        </p:nvSpPr>
        <p:spPr>
          <a:xfrm>
            <a:off x="4169781" y="184482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2081549" y="149038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4098" name="Picture 2" descr="C:\Users\assembly\Desktop\a_00003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2077" y="3951717"/>
            <a:ext cx="2790062" cy="187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773" y="4509120"/>
            <a:ext cx="51911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6568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6603" y="461862"/>
            <a:ext cx="84632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통합삼성물산 출범 한달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민연금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의결권 행사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ko-KR" altLang="en-US" sz="2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6491" y="1340768"/>
            <a:ext cx="8767827" cy="4362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삼성물산과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제일모직의 합병 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논란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en-US" altLang="ko-KR" sz="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①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월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SK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와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SK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C&amp;C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합병 반대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삼성물산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제일모직 합병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전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설명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없이 주주총회 당일에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입장</a:t>
            </a:r>
            <a:endParaRPr lang="en-US" altLang="ko-KR" sz="15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② 「의결권행사지침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제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8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항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곤란한 안건의 경우‘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주식 의결권 행사 전문위원회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에 위임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또는 찬반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근거를 밝히고 의결권을 행사할 것을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촉구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이번 합병 건은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묻지마 찬성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en-US" altLang="ko-KR" sz="15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5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공적연기금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국민연금의 의결권 방향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en-US" altLang="ko-KR" sz="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민연금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 그룹 상장 계열사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8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곳 중 절반인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93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개사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%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이상을 가진 주요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주주로서 역할 제고</a:t>
            </a: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① 의결권 행사 </a:t>
            </a:r>
            <a:r>
              <a:rPr lang="ko-KR" altLang="en-US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원칙과 기준을 분명히 밝히고 국민연금의 주인인 국민이 납득할 수 있도록 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소통 필요</a:t>
            </a:r>
            <a:endParaRPr lang="en-US" altLang="ko-KR" sz="13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②</a:t>
            </a:r>
            <a:r>
              <a:rPr lang="en-US" altLang="ko-KR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‘주주나 연금가입자의 손실’ 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등의 </a:t>
            </a:r>
            <a:r>
              <a:rPr lang="ko-KR" altLang="en-US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이유로 합병을 반대한다면</a:t>
            </a:r>
            <a:r>
              <a:rPr lang="en-US" altLang="ko-KR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이것이 찬성으로 인해 예상되는 결과보다 </a:t>
            </a:r>
            <a:endParaRPr lang="en-US" altLang="ko-KR" sz="13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어떤 점에서 </a:t>
            </a:r>
            <a:r>
              <a:rPr lang="ko-KR" altLang="en-US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다 정당하고 유익한 판단인지에 대해 근거를 분명히 할 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필요가 있음</a:t>
            </a:r>
            <a:endParaRPr lang="en-US" altLang="ko-KR" sz="13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③ </a:t>
            </a:r>
            <a:r>
              <a:rPr lang="en-US" altLang="ko-KR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묻지마 찬성</a:t>
            </a:r>
            <a:r>
              <a:rPr lang="en-US" altLang="ko-KR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’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은 피하고</a:t>
            </a:r>
            <a:r>
              <a:rPr lang="en-US" altLang="ko-KR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ko-KR" altLang="en-US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기업의 사회적 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책임</a:t>
            </a:r>
            <a:r>
              <a:rPr lang="en-US" altLang="ko-KR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 (</a:t>
            </a:r>
            <a:r>
              <a:rPr lang="en-US" altLang="ko-KR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CSR)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’</a:t>
            </a:r>
            <a:r>
              <a:rPr lang="en-US" altLang="ko-KR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특히 환경</a:t>
            </a:r>
            <a:r>
              <a:rPr lang="en-US" altLang="ko-KR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사회</a:t>
            </a:r>
            <a:r>
              <a:rPr lang="en-US" altLang="ko-KR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지배구조</a:t>
            </a:r>
            <a:r>
              <a:rPr lang="en-US" altLang="ko-KR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(ESG)</a:t>
            </a:r>
            <a:r>
              <a:rPr lang="ko-KR" altLang="en-US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에 대한 재벌의 </a:t>
            </a:r>
            <a:endParaRPr lang="en-US" altLang="ko-KR" sz="13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책임을 </a:t>
            </a:r>
            <a:r>
              <a:rPr lang="ko-KR" altLang="en-US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제고하도록 유도해야 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함</a:t>
            </a:r>
            <a:endParaRPr lang="en-US" altLang="ko-KR" sz="13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29032" y="6054649"/>
            <a:ext cx="831418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유명무실한 「의결권행사지침」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이 납득할 수 있는 원칙과 기준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마련 필요</a:t>
            </a:r>
            <a:endParaRPr lang="en-US" altLang="ko-KR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09214" y="615257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3377694" y="197671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5364088" y="266104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81020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74835" y="307720"/>
            <a:ext cx="84632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민연금공단 </a:t>
            </a:r>
            <a:r>
              <a:rPr lang="en-US" altLang="ko-KR" sz="2400" dirty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연금 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및 </a:t>
            </a:r>
            <a:r>
              <a:rPr lang="ko-KR" altLang="en-US" sz="24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연기금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운용」</a:t>
            </a:r>
            <a:r>
              <a:rPr lang="ko-KR" altLang="en-US" sz="2400" dirty="0">
                <a:latin typeface="HY견고딕" panose="02030600000101010101" pitchFamily="18" charset="-127"/>
                <a:ea typeface="HY견고딕" panose="02030600000101010101" pitchFamily="18" charset="-127"/>
              </a:rPr>
              <a:t>의 현 주소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69387" y="1078866"/>
            <a:ext cx="8823930" cy="3208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거창한 슬로건에 부합하는 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 시대 국민행복 파트너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총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구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천만 시대에 가입자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,100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명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미성숙한 연금제도 및 제도의 성숙과정에 ‘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고령화사회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’ 직면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속 가능성’ 제고 필요 상황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저임금 시간제 및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8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 이하 근로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전업주부 등 「연금복지 사각지대」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확산세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68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명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2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lt;‘14</a:t>
            </a:r>
            <a:r>
              <a:rPr lang="ko-KR" altLang="en-US" sz="12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2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r>
              <a:rPr lang="ko-KR" altLang="en-US" sz="12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저임금 일수록 낮은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가입률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10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원 미만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5%, 40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원 이상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96.6%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자영업자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베이버부머세대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심각</a:t>
            </a: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기금운용본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연기금의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산만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한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운용 및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미흡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한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업무체계 등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연기금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부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실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예견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력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예산 타령만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내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시장 막강한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큰 손’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결권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소극적 행사 다수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상황 따라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단기수익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,‘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래수익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입장변경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해외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주식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채권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부동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프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프로젝트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연기금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투자 내역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외부에 맡겼다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감독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투명한 공개 미흡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2" name="오른쪽 화살표 11"/>
          <p:cNvSpPr/>
          <p:nvPr/>
        </p:nvSpPr>
        <p:spPr>
          <a:xfrm>
            <a:off x="5156158" y="124884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5420367"/>
            <a:ext cx="3295329" cy="1437633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32" y="5238709"/>
            <a:ext cx="3518123" cy="1619291"/>
          </a:xfrm>
          <a:prstGeom prst="rect">
            <a:avLst/>
          </a:prstGeom>
        </p:spPr>
      </p:pic>
      <p:sp>
        <p:nvSpPr>
          <p:cNvPr id="15" name="오른쪽 화살표 14"/>
          <p:cNvSpPr/>
          <p:nvPr/>
        </p:nvSpPr>
        <p:spPr>
          <a:xfrm>
            <a:off x="5542905" y="158292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6909707" y="191476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5758929" y="227095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6729400" y="330710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오른쪽 화살표 19"/>
          <p:cNvSpPr/>
          <p:nvPr/>
        </p:nvSpPr>
        <p:spPr>
          <a:xfrm>
            <a:off x="6622098" y="400125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244480" y="2675720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TextBox 22"/>
          <p:cNvSpPr txBox="1"/>
          <p:nvPr/>
        </p:nvSpPr>
        <p:spPr>
          <a:xfrm>
            <a:off x="681071" y="2654255"/>
            <a:ext cx="8312246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17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공적연금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 기능 강화 및 노후빈곤 해소 위한 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7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범정부적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사회기구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역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할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기대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4" name="오른쪽 화살표 23"/>
          <p:cNvSpPr/>
          <p:nvPr/>
        </p:nvSpPr>
        <p:spPr>
          <a:xfrm>
            <a:off x="244479" y="438608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TextBox 24"/>
          <p:cNvSpPr txBox="1"/>
          <p:nvPr/>
        </p:nvSpPr>
        <p:spPr>
          <a:xfrm>
            <a:off x="658233" y="4365104"/>
            <a:ext cx="8312246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17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연기금운용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 역량 강화 위한 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제도적 장치 및 인적자원 혁신방안」 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마련 필요</a:t>
            </a:r>
          </a:p>
        </p:txBody>
      </p:sp>
      <p:sp>
        <p:nvSpPr>
          <p:cNvPr id="26" name="오른쪽 화살표 25"/>
          <p:cNvSpPr/>
          <p:nvPr/>
        </p:nvSpPr>
        <p:spPr>
          <a:xfrm>
            <a:off x="4814356" y="365588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29594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5011" y="449490"/>
            <a:ext cx="846324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세계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4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위 </a:t>
            </a:r>
            <a:r>
              <a:rPr lang="ko-KR" altLang="en-US" sz="26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연기금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포트폴리오</a:t>
            </a:r>
            <a:r>
              <a:rPr lang="en-US" altLang="ko-KR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2015.6</a:t>
            </a:r>
            <a:r>
              <a:rPr lang="ko-KR" altLang="en-US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월 현재</a:t>
            </a:r>
            <a:r>
              <a:rPr lang="en-US" altLang="ko-KR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실태 진단</a:t>
            </a:r>
            <a:endParaRPr lang="ko-KR" altLang="en-US" sz="2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9384" y="1268760"/>
            <a:ext cx="8809515" cy="40164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연기금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운용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내채권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64.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53.3%)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내주식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95.8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19.3%)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해외주식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4.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13%)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체투자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8.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9.7%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順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내 투자에 약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7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75%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집중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상대적으로 좁은 내수시장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투자대상으로 수익률에 뚜렷한 한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노르웨이 국민보험 경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해외투자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0%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달해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국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CalPERS·18.4%)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캐나다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CPPIB·16.5%), </a:t>
            </a:r>
            <a:endParaRPr lang="en-US" altLang="ko-KR" sz="15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스웨덴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AP1·14.8%)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일본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GPF·8.6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%),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한국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NPS·5.3%) 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lt;‘14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4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기준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endParaRPr lang="ko-KR" altLang="en-US" sz="14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일본 </a:t>
            </a:r>
            <a:r>
              <a:rPr lang="ko-KR" altLang="en-US" sz="1500" b="1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공적연금</a:t>
            </a:r>
            <a:r>
              <a:rPr lang="en-US" altLang="ko-KR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GPIF) </a:t>
            </a:r>
            <a:r>
              <a:rPr lang="ko-KR" altLang="en-US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투자 성공사례 </a:t>
            </a:r>
            <a:r>
              <a:rPr lang="en-US" altLang="ko-KR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최고투자책임자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CIO)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미즈노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히로미치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水野弘道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인터뷰 중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-</a:t>
            </a:r>
            <a:endParaRPr lang="ko-KR" altLang="en-US" sz="14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최고투자책임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CIO)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교체 등 기금운용 지도부 쇄신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4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말 취임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취임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월 만에 독보적 역량 발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일본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공적연금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1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3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4.4</a:t>
            </a:r>
            <a:r>
              <a:rPr lang="ko-KR" altLang="en-US" sz="13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∼‘</a:t>
            </a:r>
            <a:r>
              <a:rPr lang="en-US" altLang="ko-KR" sz="13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5.3)</a:t>
            </a:r>
            <a:r>
              <a:rPr lang="ko-KR" altLang="en-US" sz="13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운용이익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5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억엔</a:t>
            </a:r>
            <a:r>
              <a:rPr lang="en-US" altLang="ko-KR" sz="13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3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한화 </a:t>
            </a:r>
            <a:r>
              <a:rPr lang="en-US" altLang="ko-KR" sz="13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3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경</a:t>
            </a:r>
            <a:r>
              <a:rPr lang="en-US" altLang="ko-KR" sz="13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,300</a:t>
            </a:r>
            <a:r>
              <a:rPr lang="ko-KR" altLang="en-US" sz="13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원</a:t>
            </a:r>
            <a:r>
              <a:rPr lang="en-US" altLang="ko-KR" sz="13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3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      </a:t>
            </a:r>
            <a:r>
              <a:rPr lang="ko-KR" altLang="en-US" sz="13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5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만의 최고 수익창출 </a:t>
            </a: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혁신적인 분산투자 정책’ 추진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채 편중 운용 자산의 축소와 해외 주식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채권투자 비율의 확대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내 주식투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아베노믹스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일본 경기 활성화가 기회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기업별 선별적 투자전략下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집중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+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분산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투자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한편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미즈노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CIO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 공격적인 운용 스타일에 대한 대책도 마련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GPIF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內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투자심의위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추가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설치 검토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21033" y="5710363"/>
            <a:ext cx="8431032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7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연기금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 수익 창출의 지속성 위해 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先전문인력</a:t>
            </a:r>
            <a:r>
              <a:rPr lang="en-US" altLang="ko-KR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역량 강화</a:t>
            </a:r>
            <a:r>
              <a:rPr lang="en-US" altLang="ko-KR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7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後해외투자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확대」 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</a:p>
          <a:p>
            <a:pPr fontAlgn="base">
              <a:lnSpc>
                <a:spcPct val="150000"/>
              </a:lnSpc>
            </a:pP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중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기적으론</a:t>
            </a:r>
            <a:r>
              <a:rPr lang="en-US" altLang="ko-KR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기금운용본부의 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지배구조</a:t>
            </a:r>
            <a:r>
              <a:rPr lang="en-US" altLang="ko-KR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독립</a:t>
            </a:r>
            <a:r>
              <a:rPr lang="en-US" altLang="ko-KR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공사화</a:t>
            </a:r>
            <a:r>
              <a:rPr lang="en-US" altLang="ko-KR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변경 및 시스템 혁신」 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검토</a:t>
            </a:r>
          </a:p>
        </p:txBody>
      </p:sp>
      <p:sp>
        <p:nvSpPr>
          <p:cNvPr id="7" name="오른쪽 화살표 6"/>
          <p:cNvSpPr/>
          <p:nvPr/>
        </p:nvSpPr>
        <p:spPr>
          <a:xfrm>
            <a:off x="224784" y="5813875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6278251" y="394948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3248589" y="177779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4060234" y="211148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4620525" y="360425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5016577" y="462874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3280686" y="429947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5515165" y="496992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오른쪽 화살표 14"/>
          <p:cNvSpPr/>
          <p:nvPr/>
        </p:nvSpPr>
        <p:spPr>
          <a:xfrm>
            <a:off x="224747" y="6196875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0904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78782" y="548679"/>
            <a:ext cx="84632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연기금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공익성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회책임투자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중대성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시급성 진단①</a:t>
            </a:r>
            <a:endParaRPr lang="ko-KR" altLang="en-US" sz="2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33270" y="1348322"/>
            <a:ext cx="8719175" cy="26084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세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57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국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1,391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기관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공적연기금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포함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- UN PRI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가입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회책임투자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SRI)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이행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「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SRI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의 핵심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재무적 요소인 「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ESG</a:t>
            </a:r>
            <a:r>
              <a:rPr lang="en-US" altLang="ko-KR" sz="12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Environment</a:t>
            </a:r>
            <a:r>
              <a:rPr lang="en-US" altLang="ko-KR" sz="12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Social, Governance)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를 </a:t>
            </a:r>
            <a:r>
              <a:rPr lang="ko-KR" altLang="en-US" sz="15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투자시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고려</a:t>
            </a: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대한민국 연금공단의 문제점 </a:t>
            </a: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ko-KR" altLang="en-US" sz="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복지부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단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난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2009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7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월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- UN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사회책임투자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PRI)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 서명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가입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그러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UN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회원국 이행사항인 ‘연례보고서 발행 및 평가 과정엔 불참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무늬만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선진국 투자기관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일본의 경우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간장제조회사 ‘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Kikkoman’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도 사회책임투자 이행 연례보고서를 제출하고 있는 상황임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40199" y="6055084"/>
            <a:ext cx="8312246" cy="462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900" dirty="0">
                <a:latin typeface="HY견고딕" panose="02030600000101010101" pitchFamily="18" charset="-127"/>
                <a:ea typeface="HY견고딕" panose="02030600000101010101" pitchFamily="18" charset="-127"/>
              </a:rPr>
              <a:t>UN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권장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ESG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이행」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과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회원국 의무 실천」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통해 </a:t>
            </a:r>
            <a:r>
              <a:rPr lang="ko-KR" altLang="en-US" sz="19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격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유</a:t>
            </a:r>
            <a:r>
              <a:rPr lang="ko-KR" altLang="en-US" sz="1900" dirty="0">
                <a:latin typeface="HY견고딕" panose="02030600000101010101" pitchFamily="18" charset="-127"/>
                <a:ea typeface="HY견고딕" panose="02030600000101010101" pitchFamily="18" charset="-127"/>
              </a:rPr>
              <a:t>지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필요</a:t>
            </a:r>
            <a:endParaRPr lang="en-US" altLang="ko-KR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29212" y="6141465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5947857" y="153299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6386087" y="335699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2057192" y="185050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2" name="그룹 21"/>
          <p:cNvGrpSpPr/>
          <p:nvPr/>
        </p:nvGrpSpPr>
        <p:grpSpPr>
          <a:xfrm>
            <a:off x="298925" y="4158614"/>
            <a:ext cx="8587863" cy="1646650"/>
            <a:chOff x="535281" y="4063111"/>
            <a:chExt cx="7943850" cy="1295400"/>
          </a:xfrm>
        </p:grpSpPr>
        <p:pic>
          <p:nvPicPr>
            <p:cNvPr id="2054" name="Picture 6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5281" y="4063111"/>
              <a:ext cx="7943850" cy="129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" name="직사각형 27"/>
            <p:cNvSpPr/>
            <p:nvPr/>
          </p:nvSpPr>
          <p:spPr>
            <a:xfrm>
              <a:off x="583018" y="5099219"/>
              <a:ext cx="7896113" cy="249620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5364087" y="5134471"/>
              <a:ext cx="3115043" cy="1936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연례보고서 </a:t>
              </a:r>
              <a:r>
                <a:rPr lang="ko-KR" altLang="en-US" sz="1000" dirty="0" err="1" smtClean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미제출</a:t>
              </a:r>
              <a:r>
                <a:rPr lang="ko-KR" altLang="en-US" sz="1000" dirty="0" smtClean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 </a:t>
              </a:r>
              <a:r>
                <a:rPr lang="en-US" altLang="ko-KR" sz="10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             </a:t>
              </a:r>
              <a:r>
                <a:rPr lang="ko-KR" altLang="en-US" sz="10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평과 과정 </a:t>
              </a:r>
              <a:r>
                <a:rPr lang="ko-KR" altLang="en-US" sz="1000" dirty="0" smtClean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불참</a:t>
              </a:r>
              <a:endParaRPr lang="ko-KR" altLang="en-US" sz="1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0670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78782" y="404664"/>
            <a:ext cx="84632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연기금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공익성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회책임투자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중대성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시급성 진단②</a:t>
            </a:r>
            <a:endParaRPr lang="ko-KR" altLang="en-US" sz="2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6981" y="1162378"/>
            <a:ext cx="8809515" cy="318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해외선진국 </a:t>
            </a:r>
            <a:r>
              <a:rPr lang="ko-KR" altLang="en-US" sz="16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공적연기금</a:t>
            </a: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– </a:t>
            </a: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사회책임투자 사례</a:t>
            </a: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노르웨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GPFG)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네덜란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ABP)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미국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en-US" altLang="ko-KR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CalPERS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캐나다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CPPIB)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스웨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AP4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원칙대로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SRI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이행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</a:t>
            </a:r>
            <a:endParaRPr lang="en-US" altLang="ko-KR" sz="15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우리나라 </a:t>
            </a:r>
            <a:r>
              <a:rPr lang="ko-KR" altLang="en-US" sz="16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공적연기금</a:t>
            </a: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「사회책임투자」 포기</a:t>
            </a: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훼손 사례」</a:t>
            </a: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en-US" altLang="ko-KR" sz="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복지부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단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‘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09. 12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월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결권행사지침’에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회책임투자 근거마련</a:t>
            </a:r>
            <a:endParaRPr lang="ko-KR" altLang="en-US" sz="1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4.2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월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결권 행사지침’ 개정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사회책임투자」 ➝ 「책임투자</a:t>
            </a:r>
            <a:r>
              <a:rPr lang="en-US" altLang="ko-KR" sz="1500" u="sng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u="sng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익률 </a:t>
            </a:r>
            <a:r>
              <a:rPr lang="ko-KR" altLang="en-US" sz="1500" u="sng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제고</a:t>
            </a:r>
            <a:r>
              <a:rPr lang="en-US" altLang="ko-KR" sz="1500" u="sng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로 지침 변경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87603" y="6077173"/>
            <a:ext cx="8348893" cy="462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공익성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재무적 건강성 병행 투자 위한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의결권행사지침</a:t>
            </a:r>
            <a:r>
              <a:rPr lang="ko-KR" altLang="en-US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1900" dirty="0">
                <a:latin typeface="HY견고딕" panose="02030600000101010101" pitchFamily="18" charset="-127"/>
                <a:ea typeface="HY견고딕" panose="02030600000101010101" pitchFamily="18" charset="-127"/>
              </a:rPr>
              <a:t>재검토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en-US" altLang="ko-KR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09215" y="617509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6300192" y="181073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1742188"/>
              </p:ext>
            </p:extLst>
          </p:nvPr>
        </p:nvGraphicFramePr>
        <p:xfrm>
          <a:off x="414481" y="2142108"/>
          <a:ext cx="8128108" cy="629198"/>
        </p:xfrm>
        <a:graphic>
          <a:graphicData uri="http://schemas.openxmlformats.org/drawingml/2006/table">
            <a:tbl>
              <a:tblPr/>
              <a:tblGrid>
                <a:gridCol w="8128108"/>
              </a:tblGrid>
              <a:tr h="613013"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  <a:tabLst>
                          <a:tab pos="6120130" algn="r"/>
                        </a:tabLst>
                      </a:pPr>
                      <a:r>
                        <a:rPr lang="en-US" altLang="ko-KR" sz="1300" b="0" u="none" kern="0" spc="0" dirty="0" smtClean="0">
                          <a:solidFill>
                            <a:schemeClr val="tx1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300" b="0" u="sng" kern="0" spc="0" dirty="0" smtClean="0">
                          <a:solidFill>
                            <a:srgbClr val="FF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전쟁 </a:t>
                      </a:r>
                      <a:r>
                        <a:rPr lang="ko-KR" altLang="en-US" sz="1300" b="0" u="sng" kern="0" spc="0" dirty="0">
                          <a:solidFill>
                            <a:srgbClr val="FF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및 분쟁 시 심각한 인권 침해 등에 해당하는 국가 및 기업</a:t>
                      </a:r>
                      <a:r>
                        <a:rPr lang="en-US" altLang="ko-KR" sz="1300" b="0" u="sng" kern="0" spc="0" dirty="0">
                          <a:solidFill>
                            <a:srgbClr val="FF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en-US" altLang="ko-KR" sz="1300" b="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UN Global Compact </a:t>
                      </a:r>
                      <a:r>
                        <a:rPr lang="ko-KR" altLang="en-US" sz="1300" b="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위반 국가 및 </a:t>
                      </a:r>
                      <a:endParaRPr lang="en-US" altLang="ko-KR" sz="1300" b="0" kern="0" spc="0" dirty="0" smtClean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  <a:tabLst>
                          <a:tab pos="6120130" algn="r"/>
                        </a:tabLst>
                      </a:pPr>
                      <a:r>
                        <a:rPr lang="ko-KR" altLang="en-US" sz="1300" b="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 기업</a:t>
                      </a:r>
                      <a:r>
                        <a:rPr lang="en-US" altLang="ko-KR" sz="1300" b="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300" b="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무기제조 등 제조기업</a:t>
                      </a:r>
                      <a:r>
                        <a:rPr lang="en-US" altLang="ko-KR" sz="1300" b="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300" b="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담배생산</a:t>
                      </a:r>
                      <a:r>
                        <a:rPr lang="en-US" altLang="ko-KR" sz="1300" b="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300" b="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인권 침해</a:t>
                      </a:r>
                      <a:r>
                        <a:rPr lang="en-US" altLang="ko-KR" sz="1300" b="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300" b="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심각한 환경 훼손</a:t>
                      </a:r>
                      <a:r>
                        <a:rPr lang="en-US" altLang="ko-KR" sz="1300" b="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300" b="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윤리기준 위반 </a:t>
                      </a:r>
                      <a:r>
                        <a:rPr lang="ko-KR" altLang="en-US" sz="1300" b="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등에 투자제한 </a:t>
                      </a:r>
                      <a:endParaRPr lang="ko-KR" alt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3006" marR="63006" marT="17419" marB="1741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377373"/>
              </p:ext>
            </p:extLst>
          </p:nvPr>
        </p:nvGraphicFramePr>
        <p:xfrm>
          <a:off x="412250" y="4509120"/>
          <a:ext cx="8137545" cy="1035526"/>
        </p:xfrm>
        <a:graphic>
          <a:graphicData uri="http://schemas.openxmlformats.org/drawingml/2006/table">
            <a:tbl>
              <a:tblPr/>
              <a:tblGrid>
                <a:gridCol w="4070854"/>
                <a:gridCol w="4066691"/>
              </a:tblGrid>
              <a:tr h="1035526">
                <a:tc>
                  <a:txBody>
                    <a:bodyPr/>
                    <a:lstStyle/>
                    <a:p>
                      <a:pPr marL="232410" marR="0" indent="-23241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120130" algn="r"/>
                        </a:tabLst>
                      </a:pPr>
                      <a:r>
                        <a:rPr lang="en-US" altLang="ko-KR" sz="1300" b="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[</a:t>
                      </a:r>
                      <a:r>
                        <a:rPr lang="ko-KR" altLang="en-US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종전</a:t>
                      </a:r>
                      <a:r>
                        <a:rPr lang="en-US" altLang="ko-KR" sz="1300" b="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]</a:t>
                      </a:r>
                      <a:r>
                        <a:rPr lang="ko-KR" altLang="en-US" sz="1300" b="0" kern="0" spc="-5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ko-KR" altLang="en-US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제</a:t>
                      </a:r>
                      <a:r>
                        <a:rPr lang="en-US" altLang="ko-KR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</a:t>
                      </a:r>
                      <a:r>
                        <a:rPr lang="ko-KR" altLang="en-US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의 </a:t>
                      </a:r>
                      <a:r>
                        <a:rPr lang="en-US" altLang="ko-KR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(</a:t>
                      </a:r>
                      <a:r>
                        <a:rPr lang="ko-KR" altLang="en-US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회책임투자</a:t>
                      </a:r>
                      <a:r>
                        <a:rPr lang="en-US" altLang="ko-KR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 </a:t>
                      </a:r>
                      <a:r>
                        <a:rPr lang="ko-KR" altLang="en-US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기금은 </a:t>
                      </a:r>
                      <a:r>
                        <a:rPr lang="ko-KR" altLang="en-US" sz="1300" b="0" u="sng" kern="0" spc="-50" dirty="0">
                          <a:solidFill>
                            <a:srgbClr val="FF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환경</a:t>
                      </a:r>
                      <a:r>
                        <a:rPr lang="en-US" altLang="ko-KR" sz="1300" b="0" u="sng" kern="0" spc="-50" dirty="0">
                          <a:solidFill>
                            <a:srgbClr val="FF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300" b="0" u="sng" kern="0" spc="-50" dirty="0">
                          <a:solidFill>
                            <a:srgbClr val="FF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회</a:t>
                      </a:r>
                      <a:r>
                        <a:rPr lang="en-US" altLang="ko-KR" sz="1300" b="0" u="sng" kern="0" spc="-50" dirty="0">
                          <a:solidFill>
                            <a:srgbClr val="FF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300" b="0" u="sng" kern="0" spc="-50" dirty="0">
                          <a:solidFill>
                            <a:srgbClr val="FF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기업지배구조 등 사회책임투자 요소를 고려</a:t>
                      </a:r>
                      <a:r>
                        <a:rPr lang="ko-KR" altLang="en-US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하여 의결권을 행사한다</a:t>
                      </a:r>
                      <a:r>
                        <a:rPr lang="en-US" altLang="ko-KR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.</a:t>
                      </a:r>
                      <a:endParaRPr lang="ko-KR" altLang="en-US" sz="1300" b="0" kern="0" spc="-5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3006" marR="63006" marT="17419" marB="1741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32410" marR="0" indent="-23241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120130" algn="r"/>
                        </a:tabLst>
                      </a:pPr>
                      <a:r>
                        <a:rPr lang="en-US" altLang="ko-KR" sz="1300" b="0" kern="0" spc="-4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[</a:t>
                      </a:r>
                      <a:r>
                        <a:rPr lang="ko-KR" altLang="en-US" sz="1300" b="0" kern="0" spc="-4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개정</a:t>
                      </a:r>
                      <a:r>
                        <a:rPr lang="en-US" altLang="ko-KR" sz="1300" b="0" kern="0" spc="-4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]</a:t>
                      </a:r>
                      <a:r>
                        <a:rPr lang="ko-KR" altLang="en-US" sz="1300" b="0" kern="0" spc="-4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ko-KR" altLang="en-US" sz="1300" b="0" kern="0" spc="-9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제</a:t>
                      </a:r>
                      <a:r>
                        <a:rPr lang="en-US" altLang="ko-KR" sz="1300" b="0" kern="0" spc="-9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</a:t>
                      </a:r>
                      <a:r>
                        <a:rPr lang="ko-KR" altLang="en-US" sz="1300" b="0" kern="0" spc="-9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의</a:t>
                      </a:r>
                      <a:r>
                        <a:rPr lang="en-US" altLang="ko-KR" sz="1300" b="0" kern="0" spc="-9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(</a:t>
                      </a:r>
                      <a:r>
                        <a:rPr lang="ko-KR" altLang="en-US" sz="1300" b="0" kern="0" spc="-9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책임투자</a:t>
                      </a:r>
                      <a:r>
                        <a:rPr lang="en-US" altLang="ko-KR" sz="1300" b="0" kern="0" spc="-9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 </a:t>
                      </a:r>
                      <a:r>
                        <a:rPr lang="ko-KR" altLang="en-US" sz="1300" b="0" kern="0" spc="-9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기금은 </a:t>
                      </a:r>
                      <a:r>
                        <a:rPr lang="ko-KR" altLang="en-US" sz="1300" b="0" u="sng" kern="0" spc="-90" dirty="0">
                          <a:solidFill>
                            <a:srgbClr val="FF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장기적이고 안정적인 수익률 </a:t>
                      </a:r>
                      <a:r>
                        <a:rPr lang="ko-KR" altLang="en-US" sz="1300" b="0" u="sng" kern="0" spc="-100" dirty="0">
                          <a:solidFill>
                            <a:srgbClr val="FF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제고를 위하여</a:t>
                      </a:r>
                      <a:r>
                        <a:rPr lang="ko-KR" altLang="en-US" sz="1300" b="0" kern="0" spc="-10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환경</a:t>
                      </a:r>
                      <a:r>
                        <a:rPr lang="en-US" altLang="ko-KR" sz="1300" b="0" kern="0" spc="-10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300" b="0" kern="0" spc="-10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회</a:t>
                      </a:r>
                      <a:r>
                        <a:rPr lang="en-US" altLang="ko-KR" sz="1300" b="0" kern="0" spc="-10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300" b="0" kern="0" spc="-10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기업지배구조 등 </a:t>
                      </a:r>
                      <a:r>
                        <a:rPr lang="ko-KR" altLang="en-US" sz="1300" b="0" u="sng" kern="0" spc="-100" dirty="0">
                          <a:solidFill>
                            <a:srgbClr val="FF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책임투자</a:t>
                      </a:r>
                      <a:r>
                        <a:rPr lang="ko-KR" altLang="en-US" sz="1300" b="0" kern="0" spc="-10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ko-KR" altLang="en-US" sz="1300" b="0" kern="0" spc="-9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요소를 고려하여 의결권을 행사한다</a:t>
                      </a:r>
                      <a:r>
                        <a:rPr lang="en-US" altLang="ko-KR" sz="1300" b="0" kern="0" spc="-9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.</a:t>
                      </a:r>
                      <a:endParaRPr lang="ko-KR" altLang="en-US" sz="1300" b="0" kern="0" spc="-9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3006" marR="63006" marT="17419" marB="17419" anchor="ctr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4600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2518" y="476672"/>
            <a:ext cx="846324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연기금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일본전범기업」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주식투자 실태 문제</a:t>
            </a:r>
            <a:endParaRPr lang="ko-KR" altLang="en-US" sz="2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30717" y="1234386"/>
            <a:ext cx="880951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本 의원실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년간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일본전범기업」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한시적 투자제한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요구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복지부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공단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익률 제고’ 고수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해외기업 주식 투자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64.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원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&lt;‘15.6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現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직접투자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20%), 16.5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원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.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탁투자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80%), 47.8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원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.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급증세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일본 투자기업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87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중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전범기업」투자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8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9.9%)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해외 투자기업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,607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 중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.7% &lt;‘15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월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일본 투자액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,155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중 「전범기업」은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,817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19%)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해외 투자금액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7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,436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중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.37%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23195" y="5805263"/>
            <a:ext cx="84310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</a:t>
            </a:r>
            <a:r>
              <a:rPr lang="ko-KR" altLang="en-US" sz="16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연기금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운용 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500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조원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중 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전범기업 투자 </a:t>
            </a:r>
            <a:r>
              <a:rPr lang="en-US" altLang="ko-KR" sz="16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0.15%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endParaRPr lang="en-US" altLang="ko-KR" sz="16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6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기금운용지침 변경」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통해 국가자존심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국민정서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회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복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하는 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사회책임투자 </a:t>
            </a:r>
            <a:r>
              <a:rPr lang="ko-KR" altLang="en-US" sz="16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이행」 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필요 </a:t>
            </a:r>
          </a:p>
        </p:txBody>
      </p:sp>
      <p:sp>
        <p:nvSpPr>
          <p:cNvPr id="7" name="오른쪽 화살표 6"/>
          <p:cNvSpPr/>
          <p:nvPr/>
        </p:nvSpPr>
        <p:spPr>
          <a:xfrm>
            <a:off x="209215" y="590877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5270863" y="140100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3979489" y="173315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4777730" y="208719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5256169" y="242088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8870451"/>
              </p:ext>
            </p:extLst>
          </p:nvPr>
        </p:nvGraphicFramePr>
        <p:xfrm>
          <a:off x="359801" y="2996952"/>
          <a:ext cx="8424936" cy="2448272"/>
        </p:xfrm>
        <a:graphic>
          <a:graphicData uri="http://schemas.openxmlformats.org/drawingml/2006/table">
            <a:tbl>
              <a:tblPr/>
              <a:tblGrid>
                <a:gridCol w="8424936"/>
              </a:tblGrid>
              <a:tr h="377885">
                <a:tc>
                  <a:txBody>
                    <a:bodyPr/>
                    <a:lstStyle/>
                    <a:p>
                      <a:pPr marL="254000" marR="0" indent="-2540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1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복지부 및 연금공단</a:t>
                      </a:r>
                      <a:r>
                        <a:rPr lang="en-US" altLang="ko-KR" sz="1300" b="1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300" b="1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일본기업</a:t>
                      </a:r>
                      <a:r>
                        <a:rPr lang="en-US" altLang="ko-KR" sz="1300" b="1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(</a:t>
                      </a:r>
                      <a:r>
                        <a:rPr lang="ko-KR" altLang="en-US" sz="1300" b="1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전범기업 포함</a:t>
                      </a:r>
                      <a:r>
                        <a:rPr lang="en-US" altLang="ko-KR" sz="1300" b="1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)</a:t>
                      </a:r>
                      <a:r>
                        <a:rPr lang="ko-KR" altLang="en-US" sz="1300" b="1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에 대한 주식 등 </a:t>
                      </a:r>
                      <a:r>
                        <a:rPr lang="ko-KR" altLang="en-US" sz="1300" b="1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사회책임투자</a:t>
                      </a:r>
                      <a:r>
                        <a:rPr lang="en-US" altLang="ko-KR" sz="1300" b="1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(SRI)</a:t>
                      </a:r>
                      <a:r>
                        <a:rPr lang="ko-KR" altLang="en-US" sz="1300" b="1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관련 </a:t>
                      </a:r>
                      <a:r>
                        <a:rPr lang="ko-KR" altLang="en-US" sz="1300" b="1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공식 입장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070387">
                <a:tc>
                  <a:txBody>
                    <a:bodyPr/>
                    <a:lstStyle/>
                    <a:p>
                      <a:pPr fontAlgn="base" latinLnBrk="1"/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△ 기금운용본부 실무책임자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, - 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해외직접투자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(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약 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1,563</a:t>
                      </a:r>
                      <a:r>
                        <a:rPr lang="ko-KR" altLang="en-US" sz="1200" b="0" kern="1200" dirty="0" err="1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억원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전체 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20%)</a:t>
                      </a:r>
                      <a:endParaRPr lang="ko-KR" altLang="en-US" sz="1200" b="0" kern="1200" dirty="0" smtClean="0">
                        <a:solidFill>
                          <a:schemeClr val="tx1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  <a:cs typeface="+mn-cs"/>
                      </a:endParaRPr>
                    </a:p>
                    <a:p>
                      <a:pPr fontAlgn="base" latinLnBrk="1"/>
                      <a:endParaRPr lang="en-US" altLang="ko-KR" sz="500" b="0" kern="1200" dirty="0" smtClean="0">
                        <a:solidFill>
                          <a:schemeClr val="tx1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  <a:cs typeface="+mn-cs"/>
                      </a:endParaRPr>
                    </a:p>
                    <a:p>
                      <a:pPr fontAlgn="base" latinLnBrk="1"/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-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 “</a:t>
                      </a:r>
                      <a:r>
                        <a:rPr lang="ko-KR" altLang="en-US" sz="1200" b="0" u="sng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기금운용지침에서 </a:t>
                      </a:r>
                      <a:r>
                        <a:rPr lang="en-US" altLang="ko-KR" sz="1200" b="0" u="sng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MSCI(</a:t>
                      </a:r>
                      <a:r>
                        <a:rPr lang="ko-KR" altLang="en-US" sz="1200" b="0" u="sng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벤치마크지수</a:t>
                      </a:r>
                      <a:r>
                        <a:rPr lang="en-US" altLang="ko-KR" sz="1200" b="0" u="sng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) JAPAN</a:t>
                      </a:r>
                      <a:r>
                        <a:rPr lang="ko-KR" altLang="en-US" sz="1200" b="0" u="sng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을 ‘완전복제 추종’하도록 규정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돼 있기 때문에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지침 변경 없이는 </a:t>
                      </a:r>
                    </a:p>
                    <a:p>
                      <a:pPr fontAlgn="base" latinLnBrk="1"/>
                      <a:r>
                        <a:rPr lang="en-US" altLang="ko-KR" sz="1200" b="0" kern="1200" baseline="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    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기술적으로 투자 </a:t>
                      </a:r>
                      <a:r>
                        <a:rPr lang="ko-KR" altLang="en-US" sz="1200" b="0" kern="1200" dirty="0" err="1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안할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 방법이 없다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. 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현재 상태로는 </a:t>
                      </a:r>
                      <a:r>
                        <a:rPr lang="en-US" altLang="ko-KR" sz="1200" b="0" u="sng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INDEX</a:t>
                      </a:r>
                      <a:r>
                        <a:rPr lang="ko-KR" altLang="en-US" sz="1200" b="0" u="sng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에 따라 수익</a:t>
                      </a:r>
                      <a:r>
                        <a:rPr lang="en-US" altLang="ko-KR" sz="1200" b="0" u="sng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·</a:t>
                      </a:r>
                      <a:r>
                        <a:rPr lang="ko-KR" altLang="en-US" sz="1200" b="0" u="sng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적자에 관계 없이 무조건 투자해야</a:t>
                      </a:r>
                      <a:r>
                        <a:rPr lang="ko-KR" altLang="en-US" sz="1200" b="0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 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한다” </a:t>
                      </a:r>
                      <a:endParaRPr lang="en-US" altLang="ko-KR" sz="1200" b="0" kern="1200" dirty="0" smtClean="0">
                        <a:solidFill>
                          <a:schemeClr val="tx1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  <a:cs typeface="+mn-cs"/>
                      </a:endParaRPr>
                    </a:p>
                    <a:p>
                      <a:pPr fontAlgn="base" latinLnBrk="1"/>
                      <a:endParaRPr lang="ko-KR" altLang="en-US" sz="500" b="0" kern="1200" dirty="0" smtClean="0">
                        <a:solidFill>
                          <a:schemeClr val="tx1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  <a:cs typeface="+mn-cs"/>
                      </a:endParaRPr>
                    </a:p>
                    <a:p>
                      <a:pPr marL="171450" indent="-171450" fontAlgn="base" latinLnBrk="1">
                        <a:buFontTx/>
                        <a:buChar char="-"/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“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지침변경을 하더라도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직접투자방식이 아닌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, ETF 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펀드방식으로 위탁운용 한다면 향후 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5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년간 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1,685</a:t>
                      </a:r>
                      <a:r>
                        <a:rPr lang="ko-KR" altLang="en-US" sz="1200" b="0" kern="1200" dirty="0" err="1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억원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&lt;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수수료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: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年 </a:t>
                      </a:r>
                      <a:endParaRPr lang="en-US" altLang="ko-KR" sz="1200" b="0" kern="1200" dirty="0" smtClean="0">
                        <a:solidFill>
                          <a:schemeClr val="tx1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  <a:cs typeface="+mn-cs"/>
                      </a:endParaRPr>
                    </a:p>
                    <a:p>
                      <a:pPr marL="0" indent="0" fontAlgn="base" latinLnBrk="1">
                        <a:buFontTx/>
                        <a:buNone/>
                      </a:pPr>
                      <a:r>
                        <a:rPr lang="en-US" altLang="ko-KR" sz="1200" b="0" kern="1200" baseline="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    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337</a:t>
                      </a:r>
                      <a:r>
                        <a:rPr lang="ko-KR" altLang="en-US" sz="1200" b="0" kern="1200" dirty="0" err="1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억원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, 0.016%)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의 손해가 발생할 것으로 예상된다” </a:t>
                      </a:r>
                    </a:p>
                    <a:p>
                      <a:pPr fontAlgn="base" latinLnBrk="1"/>
                      <a:endParaRPr lang="en-US" altLang="ko-KR" sz="1200" b="0" kern="1200" dirty="0" smtClean="0">
                        <a:solidFill>
                          <a:schemeClr val="tx1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  <a:cs typeface="+mn-cs"/>
                      </a:endParaRPr>
                    </a:p>
                    <a:p>
                      <a:pPr fontAlgn="base" latinLnBrk="1"/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△ 해외 위탁운용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(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약 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6,254</a:t>
                      </a:r>
                      <a:r>
                        <a:rPr lang="ko-KR" altLang="en-US" sz="1200" b="0" kern="1200" dirty="0" err="1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억원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전체 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80%)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 관련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,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 “해외위탁운용사의 수익률 등은 기금운용본부에서 점검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관리하고 </a:t>
                      </a:r>
                      <a:endParaRPr lang="en-US" altLang="ko-KR" sz="1200" b="0" kern="1200" dirty="0" smtClean="0">
                        <a:solidFill>
                          <a:schemeClr val="tx1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  <a:cs typeface="+mn-cs"/>
                      </a:endParaRPr>
                    </a:p>
                    <a:p>
                      <a:pPr fontAlgn="base" latinLnBrk="1"/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   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있다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. </a:t>
                      </a:r>
                      <a:r>
                        <a:rPr lang="ko-KR" altLang="en-US" sz="1200" b="0" u="sng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사회책임투자 부분도 지침 변경 없이는 강제할 수 없다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”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  <a:cs typeface="+mn-cs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1705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78782" y="404663"/>
            <a:ext cx="84632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국내 民資</a:t>
            </a:r>
            <a:r>
              <a:rPr lang="en-US" altLang="ko-KR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SOC</a:t>
            </a:r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투자 </a:t>
            </a:r>
            <a:r>
              <a:rPr lang="en-US" altLang="ko-KR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-</a:t>
            </a:r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0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超고리사채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대출투자방식 및 </a:t>
            </a:r>
            <a:r>
              <a:rPr lang="ko-KR" altLang="en-US" sz="20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줄訴訟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2482" y="1006598"/>
            <a:ext cx="8809515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국내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SOC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체투자금액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8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946</a:t>
            </a:r>
            <a:r>
              <a:rPr lang="ko-KR" altLang="en-US" sz="15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en-US" altLang="ko-KR" sz="12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&lt;‘</a:t>
            </a:r>
            <a:r>
              <a:rPr lang="en-US" altLang="ko-KR" sz="1200" dirty="0">
                <a:latin typeface="휴먼명조" panose="02010504000101010101" pitchFamily="2" charset="-127"/>
                <a:ea typeface="휴먼명조" panose="02010504000101010101" pitchFamily="2" charset="-127"/>
              </a:rPr>
              <a:t>15.6&gt;</a:t>
            </a:r>
            <a:r>
              <a:rPr lang="ko-KR" altLang="en-US" sz="12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익성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극대화 이중투자전략 구사 중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SOC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특성상 초기단계 수익 부진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단기간에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고수익 창출 위해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지분매입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+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출투자방식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채택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현 상황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주주’ 지위남용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서민경제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싼 통행료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·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공공재정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손실보상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위협에 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줄訴訟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상태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29984" y="5805264"/>
            <a:ext cx="8506512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공단</a:t>
            </a:r>
            <a:r>
              <a:rPr lang="en-US" altLang="ko-KR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, ‘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정부</a:t>
            </a:r>
            <a:r>
              <a:rPr lang="en-US" altLang="ko-KR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지자체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 資産 중요하나</a:t>
            </a:r>
            <a:r>
              <a:rPr lang="en-US" altLang="ko-KR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적정한 수익률 필요’ </a:t>
            </a:r>
            <a:r>
              <a:rPr lang="en-US" altLang="ko-KR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7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超고리사채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당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화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향후 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반복될 정부</a:t>
            </a:r>
            <a:r>
              <a:rPr lang="en-US" altLang="ko-KR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지자체와의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 갈등</a:t>
            </a:r>
            <a:r>
              <a:rPr lang="en-US" altLang="ko-KR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해외투자 확대 등 투자전략」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조기 전환 필요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190851" y="588949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4439248" y="117585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3291357" y="152743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3026753" y="185980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/>
          <p:cNvSpPr/>
          <p:nvPr/>
        </p:nvSpPr>
        <p:spPr>
          <a:xfrm>
            <a:off x="1995213" y="2337116"/>
            <a:ext cx="4950296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/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후순위채권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「고리사채 대출투자 및 </a:t>
            </a:r>
            <a:r>
              <a:rPr lang="ko-KR" altLang="en-US" sz="13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줄訴訟</a:t>
            </a:r>
            <a:r>
              <a:rPr lang="ko-KR" altLang="en-US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」 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대표사례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3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7685753"/>
              </p:ext>
            </p:extLst>
          </p:nvPr>
        </p:nvGraphicFramePr>
        <p:xfrm>
          <a:off x="412048" y="2697156"/>
          <a:ext cx="8229599" cy="2880319"/>
        </p:xfrm>
        <a:graphic>
          <a:graphicData uri="http://schemas.openxmlformats.org/drawingml/2006/table">
            <a:tbl>
              <a:tblPr/>
              <a:tblGrid>
                <a:gridCol w="838178"/>
                <a:gridCol w="1856590"/>
                <a:gridCol w="1768717"/>
                <a:gridCol w="1944463"/>
                <a:gridCol w="1821651"/>
              </a:tblGrid>
              <a:tr h="354401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「서울외곽순환도로」</a:t>
                      </a: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「</a:t>
                      </a:r>
                      <a:r>
                        <a:rPr lang="ko-KR" altLang="en-US" sz="1100" b="1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신대구부산고속도</a:t>
                      </a: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」</a:t>
                      </a: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「일산대교」</a:t>
                      </a: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「</a:t>
                      </a:r>
                      <a:r>
                        <a:rPr lang="ko-KR" altLang="en-US" sz="1100" b="1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미시령터널</a:t>
                      </a: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」</a:t>
                      </a: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15580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투자내용</a:t>
                      </a: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지분 </a:t>
                      </a: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6%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총 투자비 </a:t>
                      </a: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</a:t>
                      </a: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,419</a:t>
                      </a:r>
                      <a:r>
                        <a:rPr lang="ko-KR" altLang="en-US" sz="1100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원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지분매입비용 </a:t>
                      </a: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,916</a:t>
                      </a:r>
                      <a:r>
                        <a:rPr lang="ko-KR" altLang="en-US" sz="1100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원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선순위대출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,500</a:t>
                      </a:r>
                      <a:r>
                        <a:rPr lang="ko-KR" altLang="en-US" sz="1100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원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– 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지분 </a:t>
                      </a: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9% 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총 투자비 </a:t>
                      </a: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</a:t>
                      </a: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09</a:t>
                      </a:r>
                      <a:r>
                        <a:rPr lang="ko-KR" altLang="en-US" sz="1100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원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지분매입비용 </a:t>
                      </a: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,922</a:t>
                      </a:r>
                      <a:r>
                        <a:rPr lang="ko-KR" altLang="en-US" sz="1100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원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선순위대출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868</a:t>
                      </a:r>
                      <a:r>
                        <a:rPr lang="ko-KR" altLang="en-US" sz="1100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원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지분 </a:t>
                      </a: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00%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총 투자비용 </a:t>
                      </a: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,561</a:t>
                      </a:r>
                      <a:r>
                        <a:rPr lang="ko-KR" altLang="en-US" sz="1100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원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지분매입비용 </a:t>
                      </a: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29</a:t>
                      </a:r>
                      <a:r>
                        <a:rPr lang="ko-KR" altLang="en-US" sz="1100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원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선순위대출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471</a:t>
                      </a:r>
                      <a:r>
                        <a:rPr lang="ko-KR" altLang="en-US" sz="1100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원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지분 </a:t>
                      </a: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00% 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총 투자금액 </a:t>
                      </a: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,247</a:t>
                      </a:r>
                      <a:r>
                        <a:rPr lang="ko-KR" altLang="en-US" sz="1100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원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지분매입비용 </a:t>
                      </a: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004</a:t>
                      </a:r>
                      <a:r>
                        <a:rPr lang="ko-KR" altLang="en-US" sz="1100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원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선순위대출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952</a:t>
                      </a:r>
                      <a:r>
                        <a:rPr lang="ko-KR" altLang="en-US" sz="1100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원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15711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갈등요인</a:t>
                      </a: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 err="1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후순위대출</a:t>
                      </a:r>
                      <a:r>
                        <a:rPr lang="ko-KR" altLang="en-US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en-US" altLang="ko-KR" sz="1100" kern="0" spc="0" dirty="0" smtClean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,003</a:t>
                      </a:r>
                      <a:r>
                        <a:rPr lang="ko-KR" altLang="en-US" sz="1100" kern="0" spc="0" dirty="0" err="1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원</a:t>
                      </a:r>
                      <a:r>
                        <a:rPr lang="ko-KR" altLang="en-US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최고 이율 </a:t>
                      </a:r>
                      <a:r>
                        <a:rPr lang="en-US" altLang="ko-KR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8% </a:t>
                      </a:r>
                      <a:endParaRPr lang="ko-KR" altLang="en-US" sz="1100" kern="0" spc="0" dirty="0">
                        <a:solidFill>
                          <a:srgbClr val="FF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-15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-15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최근 </a:t>
                      </a:r>
                      <a:r>
                        <a:rPr lang="en-US" altLang="ko-KR" sz="1100" kern="0" spc="-15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</a:t>
                      </a:r>
                      <a:r>
                        <a:rPr lang="ko-KR" altLang="en-US" sz="1100" kern="0" spc="-15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간 이자수익 </a:t>
                      </a:r>
                      <a:r>
                        <a:rPr lang="en-US" altLang="ko-KR" sz="1100" kern="0" spc="-15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,241</a:t>
                      </a:r>
                      <a:r>
                        <a:rPr lang="ko-KR" altLang="en-US" sz="1100" kern="0" spc="-15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</a:t>
                      </a:r>
                      <a:endParaRPr lang="ko-KR" altLang="en-US" sz="1100" kern="0" spc="-15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 err="1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후순위대출</a:t>
                      </a:r>
                      <a:r>
                        <a:rPr lang="ko-KR" altLang="en-US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en-US" altLang="ko-KR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,529</a:t>
                      </a:r>
                      <a:r>
                        <a:rPr lang="ko-KR" altLang="en-US" sz="1100" kern="0" spc="0" dirty="0" err="1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원</a:t>
                      </a:r>
                      <a:endParaRPr lang="ko-KR" altLang="en-US" sz="1100" kern="0" spc="0" dirty="0">
                        <a:solidFill>
                          <a:srgbClr val="FF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최고 이율 </a:t>
                      </a:r>
                      <a:r>
                        <a:rPr lang="en-US" altLang="ko-KR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0% </a:t>
                      </a:r>
                      <a:endParaRPr lang="ko-KR" altLang="en-US" sz="1100" kern="0" spc="0" dirty="0">
                        <a:solidFill>
                          <a:srgbClr val="FF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-15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-15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현재까지 이자수익 </a:t>
                      </a:r>
                      <a:r>
                        <a:rPr lang="en-US" altLang="ko-KR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,841</a:t>
                      </a:r>
                      <a:r>
                        <a:rPr lang="ko-KR" altLang="en-US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 err="1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후순위대출</a:t>
                      </a:r>
                      <a:r>
                        <a:rPr lang="ko-KR" altLang="en-US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en-US" altLang="ko-KR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61</a:t>
                      </a:r>
                      <a:r>
                        <a:rPr lang="ko-KR" altLang="en-US" sz="1100" kern="0" spc="0" dirty="0" err="1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원</a:t>
                      </a:r>
                      <a:endParaRPr lang="ko-KR" altLang="en-US" sz="1100" kern="0" spc="0" dirty="0">
                        <a:solidFill>
                          <a:srgbClr val="FF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최고 이율 </a:t>
                      </a:r>
                      <a:r>
                        <a:rPr lang="en-US" altLang="ko-KR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%</a:t>
                      </a:r>
                      <a:endParaRPr lang="ko-KR" altLang="en-US" sz="1100" kern="0" spc="0" dirty="0">
                        <a:solidFill>
                          <a:srgbClr val="FF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-150" dirty="0" smtClean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‘</a:t>
                      </a:r>
                      <a:r>
                        <a:rPr lang="en-US" altLang="ko-KR" sz="1100" kern="0" spc="-15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8</a:t>
                      </a:r>
                      <a:r>
                        <a:rPr lang="ko-KR" altLang="en-US" sz="1100" kern="0" spc="-15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까지 총 </a:t>
                      </a:r>
                      <a:r>
                        <a:rPr lang="en-US" altLang="ko-KR" sz="1100" kern="0" spc="-15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,265</a:t>
                      </a:r>
                      <a:r>
                        <a:rPr lang="ko-KR" altLang="en-US" sz="1100" kern="0" spc="-15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 회수전망</a:t>
                      </a:r>
                      <a:endParaRPr lang="ko-KR" altLang="en-US" sz="1100" kern="0" spc="-15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 err="1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후순위대출</a:t>
                      </a:r>
                      <a:r>
                        <a:rPr lang="ko-KR" altLang="en-US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en-US" altLang="ko-KR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91</a:t>
                      </a:r>
                      <a:r>
                        <a:rPr lang="ko-KR" altLang="en-US" sz="1100" kern="0" spc="0" dirty="0" err="1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원</a:t>
                      </a:r>
                      <a:endParaRPr lang="ko-KR" altLang="en-US" sz="1100" kern="0" spc="0" dirty="0">
                        <a:solidFill>
                          <a:srgbClr val="FF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최고 이율 </a:t>
                      </a:r>
                      <a:r>
                        <a:rPr lang="en-US" altLang="ko-KR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5%</a:t>
                      </a:r>
                      <a:endParaRPr lang="ko-KR" altLang="en-US" sz="1100" kern="0" spc="0" dirty="0">
                        <a:solidFill>
                          <a:srgbClr val="FF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lvl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100" kern="0" spc="0" dirty="0" smtClean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</a:t>
                      </a:r>
                      <a:r>
                        <a:rPr lang="ko-KR" altLang="en-US" sz="1100" kern="0" spc="0" dirty="0" smtClean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‘</a:t>
                      </a:r>
                      <a:r>
                        <a:rPr lang="en-US" altLang="ko-KR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6</a:t>
                      </a:r>
                      <a:r>
                        <a:rPr lang="ko-KR" altLang="en-US" sz="1100" kern="0" spc="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까지 </a:t>
                      </a:r>
                      <a:r>
                        <a:rPr lang="en-US" altLang="ko-KR" sz="1100" kern="0" spc="-15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</a:t>
                      </a:r>
                      <a:r>
                        <a:rPr lang="ko-KR" altLang="en-US" sz="1100" kern="0" spc="-15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천억 회수전망</a:t>
                      </a: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4401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소송여부</a:t>
                      </a: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 err="1">
                          <a:solidFill>
                            <a:srgbClr val="0000FF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국토부와</a:t>
                      </a:r>
                      <a:r>
                        <a:rPr lang="ko-KR" altLang="en-US" sz="1100" b="1" kern="0" spc="0" dirty="0">
                          <a:solidFill>
                            <a:srgbClr val="0000FF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소송</a:t>
                      </a:r>
                      <a:r>
                        <a:rPr lang="en-US" altLang="ko-KR" sz="1100" b="1" kern="0" spc="0" dirty="0">
                          <a:solidFill>
                            <a:srgbClr val="0000FF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1</a:t>
                      </a:r>
                      <a:r>
                        <a:rPr lang="ko-KR" altLang="en-US" sz="1100" b="1" kern="0" spc="0" dirty="0">
                          <a:solidFill>
                            <a:srgbClr val="0000FF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심</a:t>
                      </a:r>
                      <a:r>
                        <a:rPr lang="en-US" altLang="ko-KR" sz="1100" b="1" kern="0" spc="0" dirty="0">
                          <a:solidFill>
                            <a:srgbClr val="0000FF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 </a:t>
                      </a:r>
                      <a:r>
                        <a:rPr lang="ko-KR" altLang="en-US" sz="1100" b="1" kern="0" spc="0" dirty="0">
                          <a:solidFill>
                            <a:srgbClr val="0000FF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중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 err="1">
                          <a:solidFill>
                            <a:srgbClr val="0000FF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국토부와</a:t>
                      </a:r>
                      <a:r>
                        <a:rPr lang="ko-KR" altLang="en-US" sz="1100" b="1" kern="0" spc="0" dirty="0">
                          <a:solidFill>
                            <a:srgbClr val="0000FF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소송</a:t>
                      </a:r>
                      <a:r>
                        <a:rPr lang="en-US" altLang="ko-KR" sz="1100" b="1" kern="0" spc="0" dirty="0">
                          <a:solidFill>
                            <a:srgbClr val="0000FF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1</a:t>
                      </a:r>
                      <a:r>
                        <a:rPr lang="ko-KR" altLang="en-US" sz="1100" b="1" kern="0" spc="0" dirty="0">
                          <a:solidFill>
                            <a:srgbClr val="0000FF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심</a:t>
                      </a:r>
                      <a:r>
                        <a:rPr lang="en-US" altLang="ko-KR" sz="1100" b="1" kern="0" spc="0" dirty="0">
                          <a:solidFill>
                            <a:srgbClr val="0000FF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 </a:t>
                      </a:r>
                      <a:r>
                        <a:rPr lang="ko-KR" altLang="en-US" sz="1100" b="1" kern="0" spc="0" dirty="0">
                          <a:solidFill>
                            <a:srgbClr val="0000FF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중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FF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지역민 소송 예정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FF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강원도 소송 예정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743" marR="62743" marT="17347" marB="1734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오른쪽 화살표 10"/>
          <p:cNvSpPr/>
          <p:nvPr/>
        </p:nvSpPr>
        <p:spPr>
          <a:xfrm>
            <a:off x="190850" y="631379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5128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78782" y="404663"/>
            <a:ext cx="846324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내</a:t>
            </a:r>
            <a:r>
              <a:rPr lang="en-US" altLang="ko-KR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외 </a:t>
            </a:r>
            <a:r>
              <a:rPr lang="ko-KR" altLang="en-US" sz="26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위탁운용사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「수수료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율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차별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6981" y="1162378"/>
            <a:ext cx="8809515" cy="14542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전체기금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469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 중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국내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366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6,594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對 해외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02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5,940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내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3.57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배 더 많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외 위탁업체 운용기금 </a:t>
            </a:r>
            <a:r>
              <a:rPr lang="en-US" altLang="ko-KR" sz="12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&lt;‘14</a:t>
            </a:r>
            <a:r>
              <a:rPr lang="en-US" altLang="ko-KR" sz="12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내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,460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對 해외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14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내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2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원 더 운용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총 수수료 年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,197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2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&lt;‘14</a:t>
            </a:r>
            <a:r>
              <a:rPr lang="en-US" altLang="ko-KR" sz="12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내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,971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對 해외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,226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해외위탁업체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.14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배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더 많아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-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기금운용 임직원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159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연봉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대비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*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1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‘</a:t>
            </a:r>
            <a:r>
              <a:rPr lang="en-US" altLang="ko-KR" sz="11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5</a:t>
            </a:r>
            <a:r>
              <a:rPr lang="en-US" altLang="ko-KR" sz="11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총 수수료 및 해외 지불 수수료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▷ 각각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45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5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개월치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31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치 연봉</a:t>
            </a:r>
          </a:p>
        </p:txBody>
      </p:sp>
      <p:sp>
        <p:nvSpPr>
          <p:cNvPr id="21" name="오른쪽 화살표 20"/>
          <p:cNvSpPr/>
          <p:nvPr/>
        </p:nvSpPr>
        <p:spPr>
          <a:xfrm>
            <a:off x="6509996" y="134705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6641537" y="168443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5508104" y="201297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598285"/>
              </p:ext>
            </p:extLst>
          </p:nvPr>
        </p:nvGraphicFramePr>
        <p:xfrm>
          <a:off x="495605" y="3140968"/>
          <a:ext cx="8229602" cy="2880320"/>
        </p:xfrm>
        <a:graphic>
          <a:graphicData uri="http://schemas.openxmlformats.org/drawingml/2006/table">
            <a:tbl>
              <a:tblPr/>
              <a:tblGrid>
                <a:gridCol w="514401"/>
                <a:gridCol w="1453617"/>
                <a:gridCol w="782698"/>
                <a:gridCol w="782698"/>
                <a:gridCol w="782698"/>
                <a:gridCol w="782698"/>
                <a:gridCol w="782698"/>
                <a:gridCol w="782698"/>
                <a:gridCol w="782698"/>
                <a:gridCol w="782698"/>
              </a:tblGrid>
              <a:tr h="288032">
                <a:tc rowSpan="3"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b="1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위탁자산별</a:t>
                      </a:r>
                      <a:endParaRPr lang="ko-KR" altLang="en-US" sz="125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위탁운용기금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위탁운용 수수료</a:t>
                      </a:r>
                      <a:r>
                        <a:rPr lang="ko-KR" altLang="en-US" sz="1250" b="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*</a:t>
                      </a:r>
                      <a:r>
                        <a:rPr lang="en-US" altLang="ko-KR" sz="1250" b="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*</a:t>
                      </a:r>
                      <a:endParaRPr lang="ko-KR" altLang="en-US" sz="125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88032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금액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비율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b="1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금액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비율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88032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b="1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국내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해외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국내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해외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국내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해외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국내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해외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88032"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주식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16,304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49,052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.87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9.57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908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637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0.22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0.36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채권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89,781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17,027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.18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.49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84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26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0.06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0.19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 rowSpan="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대체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부동산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2,484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21,740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.12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.59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64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048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0.31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0.86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SOC / </a:t>
                      </a:r>
                      <a:r>
                        <a:rPr lang="ko-KR" alt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인프라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7,911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9,347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0.38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.05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0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54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0.34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0.72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기타대체 </a:t>
                      </a:r>
                      <a:r>
                        <a:rPr lang="en-US" altLang="ko-KR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/ </a:t>
                      </a:r>
                      <a:r>
                        <a:rPr lang="ko-KR" alt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모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1,980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3,548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.32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.57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56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961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.06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.31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소계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38,460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10,714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7.87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7.28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971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,226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0.24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0.52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5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총계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649,174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5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</a:t>
                      </a:r>
                      <a:endParaRPr lang="ko-KR" altLang="en-US" sz="125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,197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0.13</a:t>
                      </a:r>
                    </a:p>
                  </a:txBody>
                  <a:tcPr marL="58070" marR="58070" marT="16055" marB="1605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직사각형 4"/>
          <p:cNvSpPr/>
          <p:nvPr/>
        </p:nvSpPr>
        <p:spPr>
          <a:xfrm>
            <a:off x="1331640" y="2767279"/>
            <a:ext cx="676766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/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연기금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–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국내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외 위탁운용수수료 지불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현황 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[</a:t>
            </a:r>
            <a:r>
              <a:rPr lang="ko-KR" altLang="en-US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단위</a:t>
            </a:r>
            <a:r>
              <a:rPr lang="en-US" altLang="ko-KR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:</a:t>
            </a:r>
            <a:r>
              <a:rPr lang="ko-KR" altLang="en-US" sz="11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억원</a:t>
            </a:r>
            <a:r>
              <a:rPr lang="en-US" altLang="ko-KR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한화</a:t>
            </a:r>
            <a:r>
              <a:rPr lang="en-US" altLang="ko-KR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), % / </a:t>
            </a:r>
            <a:r>
              <a:rPr lang="ko-KR" altLang="en-US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기준 </a:t>
            </a:r>
            <a:r>
              <a:rPr lang="en-US" altLang="ko-KR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: 2014]</a:t>
            </a:r>
            <a:endParaRPr lang="ko-KR" altLang="en-US" sz="11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413466" y="6114200"/>
            <a:ext cx="66247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altLang="ko-KR" sz="1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*  </a:t>
            </a:r>
            <a:r>
              <a:rPr lang="ko-KR" altLang="en-US" sz="1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기금운용 임직원 연봉</a:t>
            </a:r>
            <a:r>
              <a:rPr lang="en-US" altLang="ko-KR" sz="1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‘15) </a:t>
            </a:r>
            <a:r>
              <a:rPr lang="ko-KR" altLang="en-US" sz="1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합계 </a:t>
            </a:r>
            <a:r>
              <a:rPr lang="en-US" altLang="ko-KR" sz="1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: 136</a:t>
            </a:r>
            <a:r>
              <a:rPr lang="ko-KR" altLang="en-US" sz="1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억</a:t>
            </a:r>
            <a:r>
              <a:rPr lang="en-US" altLang="ko-KR" sz="1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4</a:t>
            </a:r>
            <a:r>
              <a:rPr lang="ko-KR" altLang="en-US" sz="10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천만원</a:t>
            </a:r>
            <a:r>
              <a:rPr lang="ko-KR" altLang="en-US" sz="1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국민연금공단 업무보고 자료</a:t>
            </a:r>
            <a:r>
              <a:rPr lang="en-US" altLang="ko-KR" sz="1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</a:p>
          <a:p>
            <a:pPr fontAlgn="base"/>
            <a:r>
              <a:rPr lang="en-US" altLang="ko-KR" sz="1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** </a:t>
            </a:r>
            <a:r>
              <a:rPr lang="ko-KR" altLang="en-US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위탁운용 따른 기본보수와 성과보수 합산금액</a:t>
            </a:r>
            <a:r>
              <a:rPr lang="en-US" altLang="ko-KR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0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자산별</a:t>
            </a:r>
            <a:r>
              <a:rPr lang="ko-KR" altLang="en-US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운용기금은 연말기준 시가임</a:t>
            </a:r>
          </a:p>
        </p:txBody>
      </p:sp>
    </p:spTree>
    <p:extLst>
      <p:ext uri="{BB962C8B-B14F-4D97-AF65-F5344CB8AC3E}">
        <p14:creationId xmlns:p14="http://schemas.microsoft.com/office/powerpoint/2010/main" val="4107867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42397" y="430588"/>
            <a:ext cx="8809515" cy="27469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내 보다 많은 해외 수수료 지불 사유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시장경제 원리 적용’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수료율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기준으로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.16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배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차이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현재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내 보다 해외 證市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채권 시장 더 많은 수익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과거엔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반대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과거에도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해외’ 더 많이 지불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현재 국내 경제상황과 국제 경제상황은 연동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연계 상황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수익률’ 역시 동시에 요동치는 경향 확대 </a:t>
            </a:r>
            <a:endParaRPr lang="en-US" altLang="ko-KR" sz="15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◑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연기금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내 채권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주식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부동산 등 투자 ‘슈퍼 갑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내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탁운용사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‘투자제안서’ 門前成市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◑ 공단 임직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내 위탁운용사間 비공식 경쟁 유도로 「수수료 인하」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내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수료율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평균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0.24%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◐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연기금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해외투자시장에서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약한 지위’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해외위탁운용 위해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해외출장행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제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네트워크 ‘낙제점’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◐ 공단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해외운용사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요구대로 ‘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수수료율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투자조건’ 대부분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용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해외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수료율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평균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0.52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%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21" name="오른쪽 화살표 20"/>
          <p:cNvSpPr/>
          <p:nvPr/>
        </p:nvSpPr>
        <p:spPr>
          <a:xfrm>
            <a:off x="5832055" y="93203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5040255" y="127768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3720582" y="60668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4861691" y="175354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6052254" y="208083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6480212" y="253710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6048079" y="288497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/>
          <p:cNvSpPr txBox="1"/>
          <p:nvPr/>
        </p:nvSpPr>
        <p:spPr>
          <a:xfrm>
            <a:off x="565074" y="5819149"/>
            <a:ext cx="85065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국내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해외 수수료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율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차별 보다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투자규모</a:t>
            </a:r>
            <a:r>
              <a:rPr lang="en-US" altLang="ko-KR" sz="16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6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수익률 등 옵션 반영한 객관적 기준」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 필요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기금운용직원 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역량강화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처우개선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전문가 보강 및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6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내위탁사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참여 기회 부여」 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</a:p>
        </p:txBody>
      </p:sp>
      <p:sp>
        <p:nvSpPr>
          <p:cNvPr id="16" name="오른쪽 화살표 15"/>
          <p:cNvSpPr/>
          <p:nvPr/>
        </p:nvSpPr>
        <p:spPr>
          <a:xfrm>
            <a:off x="190851" y="588949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190850" y="631379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074" name="Picture 2" descr="C:\Users\assembly\Desktop\gsg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87788" y="3717032"/>
            <a:ext cx="1779414" cy="1764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사각형 설명선 19"/>
          <p:cNvSpPr/>
          <p:nvPr/>
        </p:nvSpPr>
        <p:spPr>
          <a:xfrm>
            <a:off x="5632004" y="3789040"/>
            <a:ext cx="3024336" cy="1692197"/>
          </a:xfrm>
          <a:prstGeom prst="wedgeRectCallout">
            <a:avLst>
              <a:gd name="adj1" fmla="val -54461"/>
              <a:gd name="adj2" fmla="val -2131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사각형 설명선 25"/>
          <p:cNvSpPr/>
          <p:nvPr/>
        </p:nvSpPr>
        <p:spPr>
          <a:xfrm>
            <a:off x="591444" y="3789040"/>
            <a:ext cx="3024336" cy="1692197"/>
          </a:xfrm>
          <a:prstGeom prst="wedgeRectCallout">
            <a:avLst>
              <a:gd name="adj1" fmla="val 53212"/>
              <a:gd name="adj2" fmla="val 2059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TextBox 24"/>
          <p:cNvSpPr txBox="1"/>
          <p:nvPr/>
        </p:nvSpPr>
        <p:spPr>
          <a:xfrm>
            <a:off x="832924" y="4118448"/>
            <a:ext cx="25149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위탁운용</a:t>
            </a:r>
            <a:r>
              <a: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기금</a:t>
            </a:r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      위탁운용</a:t>
            </a:r>
            <a:r>
              <a: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수수료</a:t>
            </a:r>
            <a:endParaRPr lang="ko-KR" altLang="en-US" sz="11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7" name="타원 26"/>
          <p:cNvSpPr/>
          <p:nvPr/>
        </p:nvSpPr>
        <p:spPr>
          <a:xfrm>
            <a:off x="939754" y="4454723"/>
            <a:ext cx="921552" cy="921552"/>
          </a:xfrm>
          <a:prstGeom prst="ellipse">
            <a:avLst/>
          </a:prstGeom>
          <a:noFill/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TextBox 27"/>
          <p:cNvSpPr txBox="1"/>
          <p:nvPr/>
        </p:nvSpPr>
        <p:spPr>
          <a:xfrm>
            <a:off x="939754" y="4688907"/>
            <a:ext cx="92155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838,460</a:t>
            </a:r>
          </a:p>
          <a:p>
            <a:pPr algn="ctr"/>
            <a:r>
              <a:rPr lang="ko-KR" altLang="en-US" sz="1200" dirty="0" err="1" smtClean="0"/>
              <a:t>억원</a:t>
            </a:r>
            <a:endParaRPr lang="ko-KR" altLang="en-US" sz="1200" dirty="0"/>
          </a:p>
        </p:txBody>
      </p:sp>
      <p:sp>
        <p:nvSpPr>
          <p:cNvPr id="31" name="타원 30"/>
          <p:cNvSpPr/>
          <p:nvPr/>
        </p:nvSpPr>
        <p:spPr>
          <a:xfrm>
            <a:off x="6116292" y="4454723"/>
            <a:ext cx="921552" cy="921552"/>
          </a:xfrm>
          <a:prstGeom prst="ellipse">
            <a:avLst/>
          </a:prstGeom>
          <a:noFill/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TextBox 31"/>
          <p:cNvSpPr txBox="1"/>
          <p:nvPr/>
        </p:nvSpPr>
        <p:spPr>
          <a:xfrm>
            <a:off x="6116292" y="4688907"/>
            <a:ext cx="92155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810,714</a:t>
            </a:r>
          </a:p>
          <a:p>
            <a:pPr algn="ctr"/>
            <a:r>
              <a:rPr lang="ko-KR" altLang="en-US" sz="1200" dirty="0" err="1" smtClean="0"/>
              <a:t>억원</a:t>
            </a:r>
            <a:endParaRPr lang="ko-KR" altLang="en-US" sz="1200" dirty="0"/>
          </a:p>
        </p:txBody>
      </p:sp>
      <p:sp>
        <p:nvSpPr>
          <p:cNvPr id="33" name="TextBox 32"/>
          <p:cNvSpPr txBox="1"/>
          <p:nvPr/>
        </p:nvSpPr>
        <p:spPr>
          <a:xfrm>
            <a:off x="5928911" y="4118448"/>
            <a:ext cx="25149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위탁운용</a:t>
            </a:r>
            <a:r>
              <a: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기금</a:t>
            </a:r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      위탁운용</a:t>
            </a:r>
            <a:r>
              <a: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수수료</a:t>
            </a:r>
            <a:endParaRPr lang="ko-KR" altLang="en-US" sz="11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4" name="타원 33"/>
          <p:cNvSpPr/>
          <p:nvPr/>
        </p:nvSpPr>
        <p:spPr>
          <a:xfrm>
            <a:off x="2339752" y="4633353"/>
            <a:ext cx="667823" cy="667823"/>
          </a:xfrm>
          <a:prstGeom prst="ellipse">
            <a:avLst/>
          </a:prstGeom>
          <a:noFill/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TextBox 34"/>
          <p:cNvSpPr txBox="1"/>
          <p:nvPr/>
        </p:nvSpPr>
        <p:spPr>
          <a:xfrm>
            <a:off x="2212887" y="4740483"/>
            <a:ext cx="92155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1,971</a:t>
            </a:r>
          </a:p>
          <a:p>
            <a:pPr algn="ctr"/>
            <a:r>
              <a:rPr lang="ko-KR" altLang="en-US" sz="1200" dirty="0" err="1" smtClean="0"/>
              <a:t>억원</a:t>
            </a:r>
            <a:endParaRPr lang="ko-KR" altLang="en-US" sz="1200" dirty="0"/>
          </a:p>
        </p:txBody>
      </p:sp>
      <p:sp>
        <p:nvSpPr>
          <p:cNvPr id="36" name="타원 35"/>
          <p:cNvSpPr/>
          <p:nvPr/>
        </p:nvSpPr>
        <p:spPr>
          <a:xfrm>
            <a:off x="7297148" y="4454723"/>
            <a:ext cx="921552" cy="921552"/>
          </a:xfrm>
          <a:prstGeom prst="ellipse">
            <a:avLst/>
          </a:prstGeom>
          <a:noFill/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TextBox 36"/>
          <p:cNvSpPr txBox="1"/>
          <p:nvPr/>
        </p:nvSpPr>
        <p:spPr>
          <a:xfrm>
            <a:off x="7297148" y="4684941"/>
            <a:ext cx="92155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4,226</a:t>
            </a:r>
          </a:p>
          <a:p>
            <a:pPr algn="ctr"/>
            <a:r>
              <a:rPr lang="ko-KR" altLang="en-US" sz="1200" dirty="0" err="1" smtClean="0"/>
              <a:t>억원</a:t>
            </a:r>
            <a:endParaRPr lang="ko-KR" altLang="en-US" sz="1200" dirty="0"/>
          </a:p>
        </p:txBody>
      </p:sp>
      <p:sp>
        <p:nvSpPr>
          <p:cNvPr id="30" name="TextBox 29"/>
          <p:cNvSpPr txBox="1"/>
          <p:nvPr/>
        </p:nvSpPr>
        <p:spPr>
          <a:xfrm>
            <a:off x="1527548" y="3814819"/>
            <a:ext cx="11521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&lt; </a:t>
            </a:r>
            <a:r>
              <a:rPr lang="ko-KR" alt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국 내 </a:t>
            </a:r>
            <a:r>
              <a:rPr lang="en-US" altLang="ko-KR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endParaRPr lang="ko-KR" altLang="en-US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568108" y="3789040"/>
            <a:ext cx="11521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&lt; </a:t>
            </a:r>
            <a:r>
              <a:rPr lang="ko-KR" alt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해 외 </a:t>
            </a:r>
            <a:r>
              <a:rPr lang="en-US" altLang="ko-KR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endParaRPr lang="ko-KR" altLang="en-US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0315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84</TotalTime>
  <Words>3073</Words>
  <Application>Microsoft Office PowerPoint</Application>
  <PresentationFormat>화면 슬라이드 쇼(4:3)</PresentationFormat>
  <Paragraphs>435</Paragraphs>
  <Slides>16</Slides>
  <Notes>1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6</vt:i4>
      </vt:variant>
    </vt:vector>
  </HeadingPairs>
  <TitlesOfParts>
    <vt:vector size="17" baseType="lpstr"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ssembly</dc:creator>
  <cp:lastModifiedBy>assembly</cp:lastModifiedBy>
  <cp:revision>200</cp:revision>
  <cp:lastPrinted>2015-10-04T10:04:52Z</cp:lastPrinted>
  <dcterms:created xsi:type="dcterms:W3CDTF">2015-09-02T12:15:03Z</dcterms:created>
  <dcterms:modified xsi:type="dcterms:W3CDTF">2015-10-04T10:38:06Z</dcterms:modified>
</cp:coreProperties>
</file>